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82" r:id="rId2"/>
    <p:sldId id="423" r:id="rId3"/>
    <p:sldId id="259" r:id="rId4"/>
    <p:sldId id="446" r:id="rId5"/>
    <p:sldId id="256" r:id="rId6"/>
    <p:sldId id="426" r:id="rId7"/>
    <p:sldId id="424" r:id="rId8"/>
    <p:sldId id="481" r:id="rId9"/>
    <p:sldId id="486" r:id="rId10"/>
    <p:sldId id="268" r:id="rId11"/>
    <p:sldId id="484" r:id="rId12"/>
    <p:sldId id="487" r:id="rId13"/>
    <p:sldId id="488" r:id="rId14"/>
    <p:sldId id="425" r:id="rId15"/>
    <p:sldId id="483" r:id="rId16"/>
    <p:sldId id="478" r:id="rId17"/>
    <p:sldId id="479" r:id="rId18"/>
    <p:sldId id="281" r:id="rId19"/>
  </p:sldIdLst>
  <p:sldSz cx="12192000" cy="6858000"/>
  <p:notesSz cx="6724650" cy="97742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9EDA"/>
    <a:srgbClr val="0471B7"/>
    <a:srgbClr val="99CB38"/>
    <a:srgbClr val="7DBF41"/>
    <a:srgbClr val="E8E9EA"/>
    <a:srgbClr val="5AB9E8"/>
    <a:srgbClr val="0F487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79" autoAdjust="0"/>
    <p:restoredTop sz="94674"/>
  </p:normalViewPr>
  <p:slideViewPr>
    <p:cSldViewPr snapToGrid="0" snapToObjects="1">
      <p:cViewPr varScale="1">
        <p:scale>
          <a:sx n="130" d="100"/>
          <a:sy n="130" d="100"/>
        </p:scale>
        <p:origin x="120" y="1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9" d="100"/>
          <a:sy n="99" d="100"/>
        </p:scale>
        <p:origin x="306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Зерновоз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2"/>
                <c:pt idx="0">
                  <c:v>2020 г.</c:v>
                </c:pt>
                <c:pt idx="1">
                  <c:v>2021 г.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50</c:v>
                </c:pt>
                <c:pt idx="1">
                  <c:v>25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Полувагон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2"/>
                <c:pt idx="0">
                  <c:v>2020 г.</c:v>
                </c:pt>
                <c:pt idx="1">
                  <c:v>2021 г.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50</c:v>
                </c:pt>
                <c:pt idx="1">
                  <c:v>20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Минераловоз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2"/>
                <c:pt idx="0">
                  <c:v>2020 г.</c:v>
                </c:pt>
                <c:pt idx="1">
                  <c:v>2021 г.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30</c:v>
                </c:pt>
                <c:pt idx="1">
                  <c:v>6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Пратформа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2"/>
                <c:pt idx="0">
                  <c:v>2020 г.</c:v>
                </c:pt>
                <c:pt idx="1">
                  <c:v>2021 г.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300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Цементавоз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2"/>
                <c:pt idx="0">
                  <c:v>2020 г.</c:v>
                </c:pt>
                <c:pt idx="1">
                  <c:v>2021 г.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1">
                  <c:v>100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Крытый вагон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cat>
            <c:strRef>
              <c:f>Sheet1!$A$2:$A$5</c:f>
              <c:strCache>
                <c:ptCount val="2"/>
                <c:pt idx="0">
                  <c:v>2020 г.</c:v>
                </c:pt>
                <c:pt idx="1">
                  <c:v>2021 г.</c:v>
                </c:pt>
              </c:strCache>
            </c:strRef>
          </c:cat>
          <c:val>
            <c:numRef>
              <c:f>Sheet1!$G$2:$G$5</c:f>
              <c:numCache>
                <c:formatCode>General</c:formatCode>
                <c:ptCount val="4"/>
                <c:pt idx="1">
                  <c:v>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shape val="box"/>
        <c:axId val="228948536"/>
        <c:axId val="228946968"/>
        <c:axId val="0"/>
      </c:bar3DChart>
      <c:catAx>
        <c:axId val="228948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228946968"/>
        <c:crosses val="autoZero"/>
        <c:auto val="1"/>
        <c:lblAlgn val="ctr"/>
        <c:lblOffset val="100"/>
        <c:noMultiLvlLbl val="0"/>
      </c:catAx>
      <c:valAx>
        <c:axId val="228946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228948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lt-L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5697881515279667E-2"/>
          <c:y val="4.8622036645988742E-2"/>
          <c:w val="0.96430215852028489"/>
          <c:h val="0.89607566086608004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[nuosavu_vagonu_rida_20180402.xlsx]Sheet2!$A$2</c:f>
              <c:strCache>
                <c:ptCount val="1"/>
                <c:pt idx="0">
                  <c:v>Quantity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nuosavu_vagonu_rida_20180402.xlsx]Sheet2!$B$1:$H$1</c:f>
              <c:strCache>
                <c:ptCount val="7"/>
                <c:pt idx="0">
                  <c:v>Covered wagons</c:v>
                </c:pt>
                <c:pt idx="1">
                  <c:v>Open top wagons</c:v>
                </c:pt>
                <c:pt idx="2">
                  <c:v>Cisterns</c:v>
                </c:pt>
                <c:pt idx="3">
                  <c:v>Mineral wagons</c:v>
                </c:pt>
                <c:pt idx="4">
                  <c:v>Cement wagons</c:v>
                </c:pt>
                <c:pt idx="5">
                  <c:v>Hoppers for grain</c:v>
                </c:pt>
                <c:pt idx="6">
                  <c:v>Fiting platforms</c:v>
                </c:pt>
              </c:strCache>
            </c:strRef>
          </c:cat>
          <c:val>
            <c:numRef>
              <c:f>[nuosavu_vagonu_rida_20180402.xlsx]Sheet2!$B$2:$H$2</c:f>
              <c:numCache>
                <c:formatCode>General</c:formatCode>
                <c:ptCount val="7"/>
                <c:pt idx="0">
                  <c:v>461</c:v>
                </c:pt>
                <c:pt idx="1">
                  <c:v>396</c:v>
                </c:pt>
                <c:pt idx="2">
                  <c:v>1688</c:v>
                </c:pt>
                <c:pt idx="3">
                  <c:v>420</c:v>
                </c:pt>
                <c:pt idx="4">
                  <c:v>283</c:v>
                </c:pt>
                <c:pt idx="5">
                  <c:v>189</c:v>
                </c:pt>
                <c:pt idx="6">
                  <c:v>1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E56-4152-9043-A570F893ED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9341432"/>
        <c:axId val="99340256"/>
        <c:axId val="0"/>
      </c:bar3DChart>
      <c:catAx>
        <c:axId val="99341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99340256"/>
        <c:crosses val="autoZero"/>
        <c:auto val="1"/>
        <c:lblAlgn val="ctr"/>
        <c:lblOffset val="100"/>
        <c:noMultiLvlLbl val="0"/>
      </c:catAx>
      <c:valAx>
        <c:axId val="99340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99341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rgbClr val="0471B7"/>
      </a:solidFill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7225635026429701E-2"/>
          <c:y val="1.9854670361022921E-2"/>
          <c:w val="0.92499964520536149"/>
          <c:h val="0.91318374846493489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8 г.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2"/>
                <c:pt idx="0">
                  <c:v>2018 г.</c:v>
                </c:pt>
                <c:pt idx="1">
                  <c:v>2019 г.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765</c:v>
                </c:pt>
                <c:pt idx="1">
                  <c:v>380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228514032"/>
        <c:axId val="228513248"/>
        <c:axId val="0"/>
      </c:bar3DChart>
      <c:catAx>
        <c:axId val="228514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228513248"/>
        <c:crosses val="autoZero"/>
        <c:auto val="1"/>
        <c:lblAlgn val="ctr"/>
        <c:lblOffset val="100"/>
        <c:noMultiLvlLbl val="0"/>
      </c:catAx>
      <c:valAx>
        <c:axId val="228513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228514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04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04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1283F3-F2A1-BA41-90C5-B282B7C65225}" type="datetimeFigureOut">
              <a:rPr lang="lt-LT" smtClean="0"/>
              <a:t>2019.10.15</a:t>
            </a:fld>
            <a:endParaRPr lang="lt-L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t-L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465" y="4703852"/>
            <a:ext cx="5379720" cy="384860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83830"/>
            <a:ext cx="2914015" cy="4904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9079" y="9283830"/>
            <a:ext cx="2914015" cy="4904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711C8C-D02F-8D45-B8FE-6E9D47206918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79569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E5AFFD-C683-434C-AAEE-498242C5BA74}" type="slidenum">
              <a:rPr lang="lt-LT" smtClean="0"/>
              <a:t>2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5376934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lt-LT" altLang="lt-LT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8D82245-17DF-40EF-B741-641A6C734A2A}" type="slidenum">
              <a:rPr lang="lt-LT" altLang="lt-LT" smtClean="0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lt-LT" altLang="lt-LT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0523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E5AFFD-C683-434C-AAEE-498242C5BA74}" type="slidenum">
              <a:rPr lang="lt-LT" smtClean="0"/>
              <a:t>6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537860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E5AFFD-C683-434C-AAEE-498242C5BA74}" type="slidenum">
              <a:rPr lang="lt-LT" smtClean="0"/>
              <a:t>7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67167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711C8C-D02F-8D45-B8FE-6E9D47206918}" type="slidenum">
              <a:rPr lang="lt-LT" smtClean="0"/>
              <a:t>10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622586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E5AFFD-C683-434C-AAEE-498242C5BA74}" type="slidenum">
              <a:rPr lang="lt-LT" smtClean="0"/>
              <a:t>15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928925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9754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inė skaidrė LG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384E139D-34B8-48A6-8549-BC6AA65B0D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5A18560F-8797-4A9C-B3D7-7A64242A3B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2225730"/>
            <a:ext cx="10364451" cy="159617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5307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920124" y="6061918"/>
            <a:ext cx="10351752" cy="5307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 b="1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8800" y="526200"/>
            <a:ext cx="3450400" cy="286695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926474" y="4086406"/>
            <a:ext cx="10351752" cy="5307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600" b="1" i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3671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skaidrė su 3 pav. (mėlyna)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269025"/>
            <a:ext cx="10364451" cy="159617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8"/>
          </p:nvPr>
        </p:nvSpPr>
        <p:spPr>
          <a:xfrm>
            <a:off x="913775" y="3742789"/>
            <a:ext cx="3130550" cy="221448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19"/>
          </p:nvPr>
        </p:nvSpPr>
        <p:spPr>
          <a:xfrm>
            <a:off x="4530725" y="3767344"/>
            <a:ext cx="3130550" cy="221448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0"/>
          </p:nvPr>
        </p:nvSpPr>
        <p:spPr>
          <a:xfrm>
            <a:off x="8147675" y="3767344"/>
            <a:ext cx="3130550" cy="221448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5555999" y="2586138"/>
            <a:ext cx="1080001" cy="1080000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33" name="Picture Placeholder 10"/>
          <p:cNvSpPr>
            <a:spLocks noGrp="1"/>
          </p:cNvSpPr>
          <p:nvPr>
            <p:ph type="pic" sz="quarter" idx="23"/>
          </p:nvPr>
        </p:nvSpPr>
        <p:spPr>
          <a:xfrm>
            <a:off x="9172949" y="2586138"/>
            <a:ext cx="1080001" cy="1080000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34" name="Picture Placeholder 10"/>
          <p:cNvSpPr>
            <a:spLocks noGrp="1"/>
          </p:cNvSpPr>
          <p:nvPr>
            <p:ph type="pic" sz="quarter" idx="24"/>
          </p:nvPr>
        </p:nvSpPr>
        <p:spPr>
          <a:xfrm>
            <a:off x="2015629" y="2586138"/>
            <a:ext cx="1080001" cy="1080000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560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skaidrė su 3 pav. (bal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238545"/>
            <a:ext cx="10364451" cy="159617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6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8"/>
          </p:nvPr>
        </p:nvSpPr>
        <p:spPr>
          <a:xfrm>
            <a:off x="913775" y="3742789"/>
            <a:ext cx="3130550" cy="221448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9"/>
          </p:nvPr>
        </p:nvSpPr>
        <p:spPr>
          <a:xfrm>
            <a:off x="4530725" y="3767344"/>
            <a:ext cx="3130550" cy="221448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0"/>
          </p:nvPr>
        </p:nvSpPr>
        <p:spPr>
          <a:xfrm>
            <a:off x="8147675" y="3767344"/>
            <a:ext cx="3130550" cy="221448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5555999" y="2586138"/>
            <a:ext cx="1080001" cy="1080000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21" name="Picture Placeholder 10"/>
          <p:cNvSpPr>
            <a:spLocks noGrp="1"/>
          </p:cNvSpPr>
          <p:nvPr>
            <p:ph type="pic" sz="quarter" idx="23"/>
          </p:nvPr>
        </p:nvSpPr>
        <p:spPr>
          <a:xfrm>
            <a:off x="9172949" y="2586138"/>
            <a:ext cx="1080001" cy="1080000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23" name="Picture Placeholder 10"/>
          <p:cNvSpPr>
            <a:spLocks noGrp="1"/>
          </p:cNvSpPr>
          <p:nvPr>
            <p:ph type="pic" sz="quarter" idx="24"/>
          </p:nvPr>
        </p:nvSpPr>
        <p:spPr>
          <a:xfrm>
            <a:off x="2015629" y="2586138"/>
            <a:ext cx="1080001" cy="1080000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585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as (mėlyna)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0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60373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367454" y="601765"/>
            <a:ext cx="5208531" cy="210567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0"/>
          </p:nvPr>
        </p:nvSpPr>
        <p:spPr>
          <a:xfrm>
            <a:off x="6367453" y="3222641"/>
            <a:ext cx="5208531" cy="30257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304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as (bal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0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60373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518030" y="883705"/>
            <a:ext cx="5208531" cy="210567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0"/>
          </p:nvPr>
        </p:nvSpPr>
        <p:spPr>
          <a:xfrm>
            <a:off x="6518029" y="3222641"/>
            <a:ext cx="5208531" cy="30257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0193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as (mėlyna)_2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0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46337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99538" y="144566"/>
            <a:ext cx="6627024" cy="12293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0"/>
          </p:nvPr>
        </p:nvSpPr>
        <p:spPr>
          <a:xfrm>
            <a:off x="5099539" y="1973580"/>
            <a:ext cx="6627022" cy="42748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373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as (balta)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0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46337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956407" y="236006"/>
            <a:ext cx="6627024" cy="12293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0"/>
          </p:nvPr>
        </p:nvSpPr>
        <p:spPr>
          <a:xfrm>
            <a:off x="4956408" y="1973580"/>
            <a:ext cx="6627022" cy="42748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212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as (mėlyna)_3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46337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956407" y="342686"/>
            <a:ext cx="6627024" cy="12293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0"/>
          </p:nvPr>
        </p:nvSpPr>
        <p:spPr>
          <a:xfrm>
            <a:off x="8394755" y="2365996"/>
            <a:ext cx="3188676" cy="3902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1"/>
          </p:nvPr>
        </p:nvSpPr>
        <p:spPr>
          <a:xfrm>
            <a:off x="4956407" y="2365996"/>
            <a:ext cx="3188676" cy="390213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755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46337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6407" y="159806"/>
            <a:ext cx="6627024" cy="12293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20"/>
          </p:nvPr>
        </p:nvSpPr>
        <p:spPr>
          <a:xfrm>
            <a:off x="8394755" y="1828800"/>
            <a:ext cx="3188676" cy="443933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21"/>
          </p:nvPr>
        </p:nvSpPr>
        <p:spPr>
          <a:xfrm>
            <a:off x="4956407" y="1828800"/>
            <a:ext cx="3188676" cy="443933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075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augiau teksto (mėlyna)_4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7558216" y="-2"/>
            <a:ext cx="46337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19287" y="175046"/>
            <a:ext cx="6627024" cy="12293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20"/>
          </p:nvPr>
        </p:nvSpPr>
        <p:spPr>
          <a:xfrm>
            <a:off x="619289" y="1859280"/>
            <a:ext cx="6627022" cy="43891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842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augiau teksto (balta)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7558216" y="0"/>
            <a:ext cx="46337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19287" y="228386"/>
            <a:ext cx="6627024" cy="12293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20"/>
          </p:nvPr>
        </p:nvSpPr>
        <p:spPr>
          <a:xfrm>
            <a:off x="619289" y="1661160"/>
            <a:ext cx="6627022" cy="458724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531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temė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521124"/>
          </a:xfrm>
          <a:prstGeom prst="rect">
            <a:avLst/>
          </a:prstGeom>
          <a:solidFill>
            <a:schemeClr val="lt1">
              <a:alpha val="43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algn="ctr"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2448349"/>
            <a:ext cx="10364451" cy="15961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1242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augiau teksto (mėlyna)_5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7558216" y="-2"/>
            <a:ext cx="46337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19287" y="251246"/>
            <a:ext cx="6627024" cy="12293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0"/>
          </p:nvPr>
        </p:nvSpPr>
        <p:spPr>
          <a:xfrm>
            <a:off x="4057635" y="1897380"/>
            <a:ext cx="3188676" cy="437075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1"/>
          </p:nvPr>
        </p:nvSpPr>
        <p:spPr>
          <a:xfrm>
            <a:off x="619287" y="1897380"/>
            <a:ext cx="3188676" cy="437075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782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augiau teksto (balta)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7558216" y="-2"/>
            <a:ext cx="4633784" cy="6521124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9287" y="223306"/>
            <a:ext cx="6627024" cy="12293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20"/>
          </p:nvPr>
        </p:nvSpPr>
        <p:spPr>
          <a:xfrm>
            <a:off x="4057635" y="1805940"/>
            <a:ext cx="3188676" cy="446219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21"/>
          </p:nvPr>
        </p:nvSpPr>
        <p:spPr>
          <a:xfrm>
            <a:off x="619287" y="1805940"/>
            <a:ext cx="3188676" cy="4462195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3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augiau teksto (mėlyna)_6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8"/>
          </p:nvPr>
        </p:nvSpPr>
        <p:spPr>
          <a:xfrm>
            <a:off x="913775" y="3282462"/>
            <a:ext cx="4654122" cy="282687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3773" y="582529"/>
            <a:ext cx="4654123" cy="213060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23"/>
          </p:nvPr>
        </p:nvSpPr>
        <p:spPr>
          <a:xfrm>
            <a:off x="5896708" y="582529"/>
            <a:ext cx="6009346" cy="5526812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1105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augiau teksto (balta)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"/>
          <p:cNvSpPr>
            <a:spLocks noGrp="1"/>
          </p:cNvSpPr>
          <p:nvPr>
            <p:ph type="body" idx="18"/>
          </p:nvPr>
        </p:nvSpPr>
        <p:spPr>
          <a:xfrm>
            <a:off x="913775" y="3282462"/>
            <a:ext cx="4654122" cy="282687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itle 1"/>
          <p:cNvSpPr>
            <a:spLocks noGrp="1"/>
          </p:cNvSpPr>
          <p:nvPr>
            <p:ph type="title" hasCustomPrompt="1"/>
          </p:nvPr>
        </p:nvSpPr>
        <p:spPr>
          <a:xfrm>
            <a:off x="913773" y="582529"/>
            <a:ext cx="4654123" cy="213060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23"/>
          </p:nvPr>
        </p:nvSpPr>
        <p:spPr>
          <a:xfrm>
            <a:off x="5896708" y="582529"/>
            <a:ext cx="6009346" cy="5526812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845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augiau teksto (mėlyna)_7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idx="18"/>
          </p:nvPr>
        </p:nvSpPr>
        <p:spPr>
          <a:xfrm>
            <a:off x="6921732" y="2895600"/>
            <a:ext cx="4654122" cy="321374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558173" y="582529"/>
            <a:ext cx="6009346" cy="5526812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921729" y="582529"/>
            <a:ext cx="4654123" cy="213060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5676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daugiau teksto (balta)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8"/>
          </p:nvPr>
        </p:nvSpPr>
        <p:spPr>
          <a:xfrm>
            <a:off x="6921732" y="3282462"/>
            <a:ext cx="4654122" cy="282687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22"/>
          </p:nvPr>
        </p:nvSpPr>
        <p:spPr>
          <a:xfrm>
            <a:off x="558173" y="582529"/>
            <a:ext cx="6009346" cy="5526812"/>
          </a:xfrm>
          <a:prstGeom prst="rect">
            <a:avLst/>
          </a:prstGeom>
          <a:solidFill>
            <a:schemeClr val="bg1">
              <a:lumMod val="85000"/>
              <a:alpha val="43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921729" y="582529"/>
            <a:ext cx="4654123" cy="213060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4664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26536157-801F-48B0-9F7A-BE686A5246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FA4CD082-F8E2-45AB-AB4A-1F19053ECD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2630910"/>
            <a:ext cx="10364451" cy="159617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AČIŪ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8800" y="526200"/>
            <a:ext cx="3450400" cy="286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322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1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971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7051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52238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temė su aprašymu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521124"/>
          </a:xfrm>
          <a:prstGeom prst="rect">
            <a:avLst/>
          </a:prstGeom>
          <a:solidFill>
            <a:schemeClr val="lt1">
              <a:alpha val="43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anchor="ctr">
            <a:normAutofit/>
          </a:bodyPr>
          <a:lstStyle>
            <a:lvl1pPr algn="ctr"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1911041"/>
            <a:ext cx="10364451" cy="159617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8"/>
          </p:nvPr>
        </p:nvSpPr>
        <p:spPr>
          <a:xfrm>
            <a:off x="913774" y="3507218"/>
            <a:ext cx="10364451" cy="221448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9317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D7875-DD94-482E-AEDB-40B1B3776A32}" type="datetimeFigureOut">
              <a:rPr lang="lt-LT" smtClean="0"/>
              <a:t>2019.10.15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A92E5-8757-4730-BC82-9A6D01F49AAB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193667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3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11465056" y="6385302"/>
            <a:ext cx="391937" cy="472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498483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8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89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56" y="6452189"/>
            <a:ext cx="391937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5007" y="319417"/>
            <a:ext cx="793582" cy="853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1128589" y="319417"/>
            <a:ext cx="216018" cy="85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1560626" y="319417"/>
            <a:ext cx="216018" cy="853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1344607" y="319417"/>
            <a:ext cx="216018" cy="853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01704"/>
            <a:ext cx="11521987" cy="317426"/>
          </a:xfrm>
        </p:spPr>
        <p:txBody>
          <a:bodyPr lIns="0" tIns="0" rIns="0" bIns="0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83471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3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11465056" y="6385302"/>
            <a:ext cx="391937" cy="472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498483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8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89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56" y="6452189"/>
            <a:ext cx="391937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5007" y="319417"/>
            <a:ext cx="793582" cy="853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1128589" y="319417"/>
            <a:ext cx="216018" cy="85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1560626" y="319417"/>
            <a:ext cx="216018" cy="853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1344607" y="319417"/>
            <a:ext cx="216018" cy="853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01704"/>
            <a:ext cx="11521987" cy="317426"/>
          </a:xfrm>
        </p:spPr>
        <p:txBody>
          <a:bodyPr lIns="0" tIns="0" rIns="0" bIns="0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12512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6791113"/>
            <a:ext cx="12192000" cy="66887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11465056" y="6385302"/>
            <a:ext cx="391937" cy="472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498483"/>
          </a:xfrm>
        </p:spPr>
        <p:txBody>
          <a:bodyPr lIns="0" tIns="0" rIns="0" bIns="0" anchor="t" anchorCtr="0">
            <a:spAutoFit/>
          </a:bodyPr>
          <a:lstStyle>
            <a:lvl1pPr>
              <a:defRPr sz="3599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616113"/>
            <a:ext cx="11521987" cy="4560851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45218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10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452189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56" y="6452189"/>
            <a:ext cx="391937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5007" y="319417"/>
            <a:ext cx="793582" cy="853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1128589" y="319417"/>
            <a:ext cx="216018" cy="85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1560626" y="319417"/>
            <a:ext cx="216018" cy="853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1344607" y="319417"/>
            <a:ext cx="216018" cy="853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9" tIns="45709" rIns="91419" bIns="457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01704"/>
            <a:ext cx="11521987" cy="317426"/>
          </a:xfrm>
        </p:spPr>
        <p:txBody>
          <a:bodyPr lIns="0" tIns="0" rIns="0" bIns="0">
            <a:no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251" indent="0"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99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93899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skaidrė (mėlyna)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8"/>
          </p:nvPr>
        </p:nvSpPr>
        <p:spPr>
          <a:xfrm>
            <a:off x="913774" y="1912620"/>
            <a:ext cx="10364451" cy="40697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136481"/>
            <a:ext cx="10364451" cy="15961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2623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skaidrė (balt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8"/>
          </p:nvPr>
        </p:nvSpPr>
        <p:spPr>
          <a:xfrm>
            <a:off x="913774" y="1851660"/>
            <a:ext cx="10364451" cy="413068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159341"/>
            <a:ext cx="10364451" cy="15961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6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744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skaidrė (mėlyna)_2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idx="20"/>
          </p:nvPr>
        </p:nvSpPr>
        <p:spPr>
          <a:xfrm>
            <a:off x="913773" y="2103120"/>
            <a:ext cx="4959490" cy="387922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21"/>
          </p:nvPr>
        </p:nvSpPr>
        <p:spPr>
          <a:xfrm>
            <a:off x="6318734" y="2103120"/>
            <a:ext cx="4959490" cy="387501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258401"/>
            <a:ext cx="10364451" cy="15961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89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skaidrė (balta)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20"/>
          </p:nvPr>
        </p:nvSpPr>
        <p:spPr>
          <a:xfrm>
            <a:off x="913773" y="1958340"/>
            <a:ext cx="4959490" cy="402400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21"/>
          </p:nvPr>
        </p:nvSpPr>
        <p:spPr>
          <a:xfrm>
            <a:off x="6318734" y="1958340"/>
            <a:ext cx="4959490" cy="401979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144101"/>
            <a:ext cx="10364451" cy="15961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6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57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skaidrė (mėlyna)_3">
    <p:bg>
      <p:bgPr>
        <a:solidFill>
          <a:srgbClr val="0471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idx="18"/>
          </p:nvPr>
        </p:nvSpPr>
        <p:spPr>
          <a:xfrm>
            <a:off x="913775" y="2209800"/>
            <a:ext cx="3259016" cy="375984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9"/>
          </p:nvPr>
        </p:nvSpPr>
        <p:spPr>
          <a:xfrm>
            <a:off x="7994513" y="2209801"/>
            <a:ext cx="3259016" cy="375984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0"/>
          </p:nvPr>
        </p:nvSpPr>
        <p:spPr>
          <a:xfrm>
            <a:off x="4454144" y="2209801"/>
            <a:ext cx="3259016" cy="375984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139021"/>
            <a:ext cx="10364451" cy="15961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6000" b="1" i="0">
                <a:solidFill>
                  <a:schemeClr val="bg1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95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ščia skaidrė (balta)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8"/>
          </p:nvPr>
        </p:nvSpPr>
        <p:spPr>
          <a:xfrm>
            <a:off x="913775" y="2141220"/>
            <a:ext cx="3259016" cy="384112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9"/>
          </p:nvPr>
        </p:nvSpPr>
        <p:spPr>
          <a:xfrm>
            <a:off x="7994513" y="2141221"/>
            <a:ext cx="3259016" cy="38411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20"/>
          </p:nvPr>
        </p:nvSpPr>
        <p:spPr>
          <a:xfrm>
            <a:off x="4454144" y="2141221"/>
            <a:ext cx="3259016" cy="384112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3775" y="227921"/>
            <a:ext cx="10364451" cy="15961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6000" b="1" i="0">
                <a:solidFill>
                  <a:srgbClr val="0471B7"/>
                </a:solidFill>
                <a:latin typeface="Source Sans Pro Black" charset="0"/>
                <a:ea typeface="Source Sans Pro Black" charset="0"/>
                <a:cs typeface="Source Sans Pro Black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500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lt-LT" dirty="0"/>
          </a:p>
        </p:txBody>
      </p:sp>
      <p:sp>
        <p:nvSpPr>
          <p:cNvPr id="49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686235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72" r:id="rId3"/>
    <p:sldLayoutId id="2147483682" r:id="rId4"/>
    <p:sldLayoutId id="2147483683" r:id="rId5"/>
    <p:sldLayoutId id="2147483685" r:id="rId6"/>
    <p:sldLayoutId id="2147483684" r:id="rId7"/>
    <p:sldLayoutId id="2147483673" r:id="rId8"/>
    <p:sldLayoutId id="2147483675" r:id="rId9"/>
    <p:sldLayoutId id="2147483661" r:id="rId10"/>
    <p:sldLayoutId id="2147483674" r:id="rId11"/>
    <p:sldLayoutId id="2147483669" r:id="rId12"/>
    <p:sldLayoutId id="2147483670" r:id="rId13"/>
    <p:sldLayoutId id="2147483665" r:id="rId14"/>
    <p:sldLayoutId id="2147483671" r:id="rId15"/>
    <p:sldLayoutId id="2147483666" r:id="rId16"/>
    <p:sldLayoutId id="2147483676" r:id="rId17"/>
    <p:sldLayoutId id="2147483667" r:id="rId18"/>
    <p:sldLayoutId id="2147483677" r:id="rId19"/>
    <p:sldLayoutId id="2147483668" r:id="rId20"/>
    <p:sldLayoutId id="2147483678" r:id="rId21"/>
    <p:sldLayoutId id="2147483688" r:id="rId22"/>
    <p:sldLayoutId id="2147483687" r:id="rId23"/>
    <p:sldLayoutId id="2147483689" r:id="rId24"/>
    <p:sldLayoutId id="2147483690" r:id="rId25"/>
    <p:sldLayoutId id="2147483686" r:id="rId26"/>
    <p:sldLayoutId id="2147483679" r:id="rId27"/>
    <p:sldLayoutId id="2147483680" r:id="rId28"/>
    <p:sldLayoutId id="2147483697" r:id="rId29"/>
    <p:sldLayoutId id="2147483698" r:id="rId30"/>
    <p:sldLayoutId id="2147483700" r:id="rId31"/>
    <p:sldLayoutId id="2147483701" r:id="rId32"/>
    <p:sldLayoutId id="2147483702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rgbClr val="0471B7"/>
          </a:solidFill>
          <a:latin typeface="Source Sans Pro Black" charset="0"/>
          <a:ea typeface="Source Sans Pro Black" charset="0"/>
          <a:cs typeface="Source Sans Pro Black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>
              <a:lumMod val="75000"/>
              <a:lumOff val="25000"/>
            </a:schemeClr>
          </a:solidFill>
          <a:latin typeface="Source Sans Pro" charset="0"/>
          <a:ea typeface="Source Sans Pro" charset="0"/>
          <a:cs typeface="Source Sans Pro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400" kern="1200">
          <a:solidFill>
            <a:schemeClr val="tx1">
              <a:lumMod val="75000"/>
              <a:lumOff val="25000"/>
            </a:schemeClr>
          </a:solidFill>
          <a:latin typeface="Source Sans Pro" charset="0"/>
          <a:ea typeface="Source Sans Pro" charset="0"/>
          <a:cs typeface="Source Sans Pro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000" kern="1200">
          <a:solidFill>
            <a:schemeClr val="tx1">
              <a:lumMod val="75000"/>
              <a:lumOff val="25000"/>
            </a:schemeClr>
          </a:solidFill>
          <a:latin typeface="Source Sans Pro" charset="0"/>
          <a:ea typeface="Source Sans Pro" charset="0"/>
          <a:cs typeface="Source Sans Pro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Source Sans Pro" charset="0"/>
          <a:ea typeface="Source Sans Pro" charset="0"/>
          <a:cs typeface="Source Sans Pro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Source Sans Pro" charset="0"/>
          <a:ea typeface="Source Sans Pro" charset="0"/>
          <a:cs typeface="Source Sans Pro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4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9.png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hyperlink" Target="http://vlrd.lt/ru/%d0%bf%d1%80%d0%be%d0%b4%d1%83%d0%ba%d1%82%d1%8b/%d0%bd%d0%be%d0%b2%d1%8b%d0%b5-%d0%bb%d0%be%d0%ba%d0%be%d0%bc%d0%be%d1%82%d0%b8%d0%b2%d1%8b/%d1%82%d0%b5%d0%bc-%d1%82%d0%bc%d1%85/" TargetMode="External"/><Relationship Id="rId7" Type="http://schemas.openxmlformats.org/officeDocument/2006/relationships/hyperlink" Target="http://vlrd.lt/ru/%d0%bf%d1%80%d0%be%d0%b4%d1%83%d0%ba%d1%82%d1%8b/%d0%bd%d0%be%d0%b2%d1%8b%d0%b5-%d0%bb%d0%be%d0%ba%d0%be%d0%bc%d0%be%d1%82%d0%b8%d0%b2%d1%8b/%d1%82%d1%8d%d0%bc-33/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6.png"/><Relationship Id="rId5" Type="http://schemas.openxmlformats.org/officeDocument/2006/relationships/hyperlink" Target="http://vlrd.lt/ru/%d0%bf%d1%80%d0%be%d0%b4%d1%83%d0%ba%d1%82%d1%8b/%d0%bd%d0%be%d0%b2%d1%8b%d0%b5-%d0%bb%d0%be%d0%ba%d0%be%d0%bc%d0%be%d1%82%d0%b8%d0%b2%d1%8b/%d1%82%d1%8d%d0%bc-%d0%bb%d1%82%d1%85/" TargetMode="External"/><Relationship Id="rId4" Type="http://schemas.openxmlformats.org/officeDocument/2006/relationships/image" Target="../media/image35.png"/><Relationship Id="rId9" Type="http://schemas.openxmlformats.org/officeDocument/2006/relationships/hyperlink" Target="http://vlrd.lt/ru/%d0%bf%d1%80%d0%be%d0%b4%d1%83%d0%ba%d1%82%d1%8b/%d0%bd%d0%be%d0%b2%d1%8b%d0%b5-%d0%bb%d0%be%d0%ba%d0%be%d0%bc%d0%be%d1%82%d0%b8%d0%b2%d1%8b/%d1%82%d1%8d%d0%bc-35-%d0%b3%d0%b8%d0%b1%d1%80%d0%b8%d0%b4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png"/><Relationship Id="rId11" Type="http://schemas.openxmlformats.org/officeDocument/2006/relationships/image" Target="../media/image4.png"/><Relationship Id="rId5" Type="http://schemas.openxmlformats.org/officeDocument/2006/relationships/image" Target="../media/image17.png"/><Relationship Id="rId10" Type="http://schemas.openxmlformats.org/officeDocument/2006/relationships/image" Target="../media/image9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669" y="1874354"/>
            <a:ext cx="11579961" cy="1596177"/>
          </a:xfrm>
        </p:spPr>
        <p:txBody>
          <a:bodyPr/>
          <a:lstStyle/>
          <a:p>
            <a:r>
              <a:rPr lang="ru-RU" dirty="0"/>
              <a:t>Обновление парка ПС в Литовской Республике</a:t>
            </a:r>
            <a:endParaRPr lang="lt-L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 smtClean="0"/>
              <a:t>Гинтаре</a:t>
            </a:r>
            <a:r>
              <a:rPr lang="ru-RU" dirty="0" smtClean="0"/>
              <a:t> </a:t>
            </a:r>
            <a:r>
              <a:rPr lang="ru-RU" dirty="0" err="1" smtClean="0"/>
              <a:t>Панкевичене</a:t>
            </a:r>
            <a:r>
              <a:rPr lang="ru-RU" dirty="0" smtClean="0"/>
              <a:t> </a:t>
            </a:r>
            <a:endParaRPr lang="lt-L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ru-RU" b="0" dirty="0" smtClean="0"/>
              <a:t>17-10-</a:t>
            </a:r>
            <a:r>
              <a:rPr lang="lt-LT" b="0" dirty="0"/>
              <a:t>201</a:t>
            </a:r>
            <a:r>
              <a:rPr lang="ru-RU" b="0" dirty="0"/>
              <a:t>9 </a:t>
            </a:r>
            <a:r>
              <a:rPr lang="lt-LT" b="0" dirty="0"/>
              <a:t>| </a:t>
            </a:r>
            <a:r>
              <a:rPr lang="ru-RU" b="0" dirty="0"/>
              <a:t>ВИЛЬНЮС</a:t>
            </a:r>
            <a:endParaRPr lang="lt-LT" b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24F62B4-2297-4F2E-A41A-5EA7E9B7A84D}"/>
              </a:ext>
            </a:extLst>
          </p:cNvPr>
          <p:cNvSpPr txBox="1"/>
          <p:nvPr/>
        </p:nvSpPr>
        <p:spPr>
          <a:xfrm>
            <a:off x="790574" y="495300"/>
            <a:ext cx="26655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A</a:t>
            </a:r>
            <a:r>
              <a:rPr lang="ru-RU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О</a:t>
            </a:r>
            <a:r>
              <a:rPr lang="lt-LT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 </a:t>
            </a:r>
            <a:r>
              <a:rPr lang="ru-RU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«</a:t>
            </a:r>
            <a:r>
              <a:rPr lang="lt-LT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LG CARGO</a:t>
            </a:r>
            <a:r>
              <a:rPr lang="ru-RU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»</a:t>
            </a:r>
          </a:p>
          <a:p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Часть группы «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Литовски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железны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дорог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»</a:t>
            </a:r>
            <a:endParaRPr lang="lt-LT" sz="8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626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516624"/>
            <a:ext cx="11430000" cy="3413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46887" y="0"/>
            <a:ext cx="12738887" cy="8915400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-4229739" y="-1270639"/>
            <a:ext cx="13106400" cy="13106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dirty="0"/>
              <a:t>МЕСТ ДЛЯ ГРУЗОВЫХ АВТОМОБИЛЕЙ</a:t>
            </a:r>
          </a:p>
          <a:p>
            <a:r>
              <a:rPr lang="lt-LT" dirty="0"/>
              <a:t>С ПРИЦЕПАМИ</a:t>
            </a:r>
          </a:p>
        </p:txBody>
      </p:sp>
      <p:sp>
        <p:nvSpPr>
          <p:cNvPr id="9" name="Rectangle 3"/>
          <p:cNvSpPr txBox="1"/>
          <p:nvPr/>
        </p:nvSpPr>
        <p:spPr>
          <a:xfrm>
            <a:off x="366713" y="446954"/>
            <a:ext cx="12193278" cy="19389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lnSpc>
                <a:spcPts val="6000"/>
              </a:lnSpc>
              <a:defRPr sz="6000" b="1">
                <a:solidFill>
                  <a:srgbClr val="FFFFFF"/>
                </a:solidFill>
                <a:latin typeface="Proxima Nova Black"/>
                <a:ea typeface="Proxima Nova Black"/>
                <a:cs typeface="Proxima Nova Black"/>
                <a:sym typeface="Proxima Nova Black"/>
              </a:defRPr>
            </a:lvl1pPr>
          </a:lstStyle>
          <a:p>
            <a:pPr algn="l">
              <a:lnSpc>
                <a:spcPts val="4800"/>
              </a:lnSpc>
            </a:pPr>
            <a:r>
              <a:rPr lang="ru-RU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ЗАО </a:t>
            </a:r>
            <a:r>
              <a:rPr lang="lt-LT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«</a:t>
            </a:r>
            <a:r>
              <a:rPr lang="ru-RU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ВИЛЬНЮССКОЕ </a:t>
            </a:r>
            <a:endParaRPr lang="en-US" sz="4800" dirty="0">
              <a:solidFill>
                <a:srgbClr val="0471B7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l">
              <a:lnSpc>
                <a:spcPts val="4800"/>
              </a:lnSpc>
            </a:pPr>
            <a:r>
              <a:rPr lang="ru-RU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ДЕПО РЕМОНТA </a:t>
            </a:r>
            <a:endParaRPr lang="en-US" sz="4800" dirty="0">
              <a:solidFill>
                <a:srgbClr val="0471B7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l">
              <a:lnSpc>
                <a:spcPts val="4800"/>
              </a:lnSpc>
            </a:pPr>
            <a:r>
              <a:rPr lang="ru-RU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ЛОКОМОТИВOB</a:t>
            </a:r>
            <a:r>
              <a:rPr lang="lt-LT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»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913" y="2555047"/>
            <a:ext cx="2684711" cy="74735"/>
          </a:xfrm>
          <a:prstGeom prst="rect">
            <a:avLst/>
          </a:prstGeom>
        </p:spPr>
      </p:pic>
      <p:sp>
        <p:nvSpPr>
          <p:cNvPr id="11" name="Oval 10"/>
          <p:cNvSpPr/>
          <p:nvPr/>
        </p:nvSpPr>
        <p:spPr>
          <a:xfrm>
            <a:off x="957262" y="3107142"/>
            <a:ext cx="1105393" cy="1105393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2" name="Oval 11"/>
          <p:cNvSpPr/>
          <p:nvPr/>
        </p:nvSpPr>
        <p:spPr>
          <a:xfrm>
            <a:off x="3756274" y="3118743"/>
            <a:ext cx="1105393" cy="1105393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3" name="Oval 12"/>
          <p:cNvSpPr/>
          <p:nvPr/>
        </p:nvSpPr>
        <p:spPr>
          <a:xfrm>
            <a:off x="6241761" y="3107142"/>
            <a:ext cx="1105393" cy="1105393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4284" y="3267483"/>
            <a:ext cx="801288" cy="80791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525" y="3291881"/>
            <a:ext cx="701873" cy="70187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1086" y="3309101"/>
            <a:ext cx="739973" cy="739973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363685" y="4261594"/>
            <a:ext cx="2512226" cy="468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ПРОИЗВОДСТВО</a:t>
            </a:r>
            <a:endParaRPr lang="lt-LT" sz="2400" b="1" dirty="0">
              <a:solidFill>
                <a:srgbClr val="0471B7"/>
              </a:solidFill>
              <a:effectLst/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668038" y="4258977"/>
            <a:ext cx="1358064" cy="468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РЕМОНТ</a:t>
            </a:r>
            <a:endParaRPr lang="lt-LT" sz="2400" b="1" dirty="0">
              <a:solidFill>
                <a:srgbClr val="0471B7"/>
              </a:solidFill>
              <a:effectLst/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534120" y="4251033"/>
            <a:ext cx="2553904" cy="468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МОДЕРНИЗАЦИЯ</a:t>
            </a:r>
            <a:endParaRPr lang="lt-LT" sz="2400" b="1" dirty="0">
              <a:solidFill>
                <a:srgbClr val="0471B7"/>
              </a:solidFill>
              <a:effectLst/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47024" y="5111111"/>
            <a:ext cx="7675469" cy="1205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ПРОФИЛЬ:</a:t>
            </a:r>
            <a:endParaRPr lang="en-US" sz="2400" b="1" dirty="0">
              <a:solidFill>
                <a:srgbClr val="0471B7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2400"/>
              </a:lnSpc>
            </a:pPr>
            <a:r>
              <a:rPr lang="ru-RU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МАНЕВРОВЫЕ ТЕПЛОВОЗЫ</a:t>
            </a:r>
            <a:r>
              <a:rPr lang="en-US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Times New Roman" panose="02020603050405020304" pitchFamily="18" charset="0"/>
              </a:rPr>
              <a:t>, </a:t>
            </a:r>
            <a:r>
              <a:rPr lang="ru-RU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МАГИСТРАЛЬНЫЕ ТЕПЛОВОЗЫ</a:t>
            </a:r>
            <a:r>
              <a:rPr lang="en-US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Times New Roman" panose="02020603050405020304" pitchFamily="18" charset="0"/>
              </a:rPr>
              <a:t>, </a:t>
            </a:r>
            <a:r>
              <a:rPr lang="ru-RU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ПУТЕВАЯ ТЕХНИКА</a:t>
            </a:r>
            <a:r>
              <a:rPr lang="en-US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Times New Roman" panose="02020603050405020304" pitchFamily="18" charset="0"/>
              </a:rPr>
              <a:t>, </a:t>
            </a:r>
            <a:r>
              <a:rPr lang="ru-RU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ВАГОНЫ ВСЕХ ВИДОВ</a:t>
            </a:r>
            <a:r>
              <a:rPr lang="en-US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Times New Roman" panose="02020603050405020304" pitchFamily="18" charset="0"/>
              </a:rPr>
              <a:t>, </a:t>
            </a:r>
            <a:r>
              <a:rPr lang="ru-RU" sz="20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УЗЛЫ И АГРЕГАТЫ</a:t>
            </a:r>
            <a:endParaRPr lang="lt-LT" sz="2000" dirty="0">
              <a:solidFill>
                <a:srgbClr val="0471B7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555559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918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5" y="29192"/>
            <a:ext cx="12734925" cy="1354643"/>
          </a:xfrm>
        </p:spPr>
        <p:txBody>
          <a:bodyPr>
            <a:normAutofit fontScale="90000"/>
          </a:bodyPr>
          <a:lstStyle/>
          <a:p>
            <a:pPr algn="ctr">
              <a:lnSpc>
                <a:spcPts val="4800"/>
              </a:lnSpc>
            </a:pPr>
            <a:r>
              <a:rPr lang="ru-RU" sz="4000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/>
            </a:r>
            <a:br>
              <a:rPr lang="ru-RU" sz="4000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</a:br>
            <a:r>
              <a:rPr lang="ru-RU" sz="5300" u="sng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ПРОИЗВОДСТВО </a:t>
            </a:r>
            <a:br>
              <a:rPr lang="ru-RU" sz="5300" u="sng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</a:br>
            <a:r>
              <a:rPr lang="ru-RU" sz="4000" u="sng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ТЕПЛОВОЗОВ</a:t>
            </a:r>
            <a:r>
              <a:rPr lang="lt-LT" sz="5300" u="sng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 </a:t>
            </a:r>
            <a:br>
              <a:rPr lang="lt-LT" sz="5300" u="sng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</a:br>
            <a:endParaRPr lang="lt-LT" sz="5300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A92E5-8757-4730-BC82-9A6D01F49AAB}" type="slidenum">
              <a:rPr lang="lt-LT" smtClean="0"/>
              <a:t>11</a:t>
            </a:fld>
            <a:endParaRPr lang="lt-LT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76350" y="1933574"/>
            <a:ext cx="2857500" cy="189547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00075" y="1328738"/>
            <a:ext cx="52006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smtClean="0">
                <a:solidFill>
                  <a:srgbClr val="0471B7"/>
                </a:solidFill>
                <a:latin typeface="helvetica neue"/>
                <a:hlinkClick r:id="rId3" tooltip="ТЭМ ТМХ"/>
              </a:rPr>
              <a:t/>
            </a:r>
            <a:br>
              <a:rPr lang="ru-RU" b="1" dirty="0" smtClean="0">
                <a:solidFill>
                  <a:srgbClr val="0471B7"/>
                </a:solidFill>
                <a:latin typeface="helvetica neue"/>
                <a:hlinkClick r:id="rId3" tooltip="ТЭМ ТМХ"/>
              </a:rPr>
            </a:br>
            <a:r>
              <a:rPr lang="ru-RU" b="1" dirty="0" smtClean="0">
                <a:solidFill>
                  <a:srgbClr val="0471B7"/>
                </a:solidFill>
                <a:latin typeface="helvetica neue"/>
                <a:hlinkClick r:id="rId3" tooltip="ТЭМ ТМХ"/>
              </a:rPr>
              <a:t>Маневровый </a:t>
            </a:r>
            <a:r>
              <a:rPr lang="ru-RU" b="1" dirty="0">
                <a:solidFill>
                  <a:srgbClr val="0471B7"/>
                </a:solidFill>
                <a:latin typeface="helvetica neue"/>
                <a:hlinkClick r:id="rId3" tooltip="ТЭМ ТМХ"/>
              </a:rPr>
              <a:t>тепловоз</a:t>
            </a:r>
            <a:r>
              <a:rPr lang="ru-RU" b="1" dirty="0" smtClean="0">
                <a:solidFill>
                  <a:srgbClr val="0471B7"/>
                </a:solidFill>
                <a:latin typeface="helvetica neue"/>
                <a:hlinkClick r:id="rId3" tooltip="ТЭМ ТМХ"/>
              </a:rPr>
              <a:t> серии ТЭМ ТМХ</a:t>
            </a:r>
            <a:endParaRPr lang="ru-RU" b="1" dirty="0">
              <a:solidFill>
                <a:srgbClr val="0471B7"/>
              </a:solidFill>
              <a:latin typeface="helvetica neue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8975" y="1975069"/>
            <a:ext cx="2857500" cy="189547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6410325" y="1588934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ru-RU" b="1" dirty="0">
                <a:solidFill>
                  <a:srgbClr val="0471B7"/>
                </a:solidFill>
                <a:latin typeface="helvetica neue"/>
                <a:hlinkClick r:id="rId5" tooltip="ТЭМ ЛТХ"/>
              </a:rPr>
              <a:t>Маневровый тепловоз серии ТЭМ </a:t>
            </a:r>
            <a:r>
              <a:rPr lang="ru-RU" b="1" dirty="0" smtClean="0">
                <a:solidFill>
                  <a:srgbClr val="0471B7"/>
                </a:solidFill>
                <a:latin typeface="helvetica neue"/>
                <a:hlinkClick r:id="rId5" tooltip="ТЭМ ЛТХ"/>
              </a:rPr>
              <a:t>ЛТХ</a:t>
            </a:r>
            <a:endParaRPr lang="ru-RU" b="1" dirty="0">
              <a:solidFill>
                <a:srgbClr val="0471B7"/>
              </a:solidFill>
              <a:latin typeface="helvetica neue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6350" y="4843462"/>
            <a:ext cx="2857500" cy="1895475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600075" y="404648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ru-RU" b="1" dirty="0">
                <a:solidFill>
                  <a:srgbClr val="222222"/>
                </a:solidFill>
                <a:latin typeface="helvetica neue"/>
                <a:hlinkClick r:id="rId7" tooltip="ТЭМ 33"/>
              </a:rPr>
              <a:t>Маневровый тепловоз серии ТЭМ </a:t>
            </a:r>
            <a:r>
              <a:rPr lang="ru-RU" b="1" dirty="0" smtClean="0">
                <a:solidFill>
                  <a:srgbClr val="222222"/>
                </a:solidFill>
                <a:latin typeface="helvetica neue"/>
                <a:hlinkClick r:id="rId7" tooltip="ТЭМ 33"/>
              </a:rPr>
              <a:t>33</a:t>
            </a:r>
            <a:endParaRPr lang="ru-RU" b="1" dirty="0">
              <a:solidFill>
                <a:srgbClr val="222222"/>
              </a:solidFill>
              <a:latin typeface="helvetica neue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38975" y="4843461"/>
            <a:ext cx="2857500" cy="1895475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6296025" y="407564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/>
            <a:r>
              <a:rPr lang="ru-RU" b="1" dirty="0">
                <a:solidFill>
                  <a:srgbClr val="222222"/>
                </a:solidFill>
                <a:latin typeface="helvetica neue"/>
                <a:hlinkClick r:id="rId9" tooltip="ТЭМ 35 гибрид"/>
              </a:rPr>
              <a:t>Маневровый тепловоз серии ТЭМ 35 (гибрид</a:t>
            </a:r>
            <a:r>
              <a:rPr lang="ru-RU" b="1" dirty="0" smtClean="0">
                <a:solidFill>
                  <a:srgbClr val="222222"/>
                </a:solidFill>
                <a:latin typeface="helvetica neue"/>
                <a:hlinkClick r:id="rId9" tooltip="ТЭМ 35 гибрид"/>
              </a:rPr>
              <a:t>)</a:t>
            </a:r>
            <a:endParaRPr lang="ru-RU" b="1" dirty="0">
              <a:solidFill>
                <a:srgbClr val="222222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0630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1524" y="263241"/>
            <a:ext cx="105156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/>
            </a:r>
            <a:br>
              <a:rPr lang="ru-RU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</a:br>
            <a:r>
              <a:rPr lang="ru-RU" sz="5300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   </a:t>
            </a:r>
            <a:r>
              <a:rPr lang="ru-RU" sz="5300" u="sng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ПРОИЗВОДСТВО</a:t>
            </a:r>
            <a:r>
              <a:rPr lang="ru-RU" sz="5300" u="sng" dirty="0" smtClean="0"/>
              <a:t> </a:t>
            </a:r>
            <a:r>
              <a:rPr lang="ru-RU" u="sng" dirty="0"/>
              <a:t> </a:t>
            </a:r>
            <a:r>
              <a:rPr lang="ru-RU" u="sng" dirty="0" smtClean="0"/>
              <a:t/>
            </a:r>
            <a:br>
              <a:rPr lang="ru-RU" u="sng" dirty="0" smtClean="0"/>
            </a:br>
            <a:r>
              <a:rPr lang="ru-RU" sz="5300" u="sng" dirty="0" smtClean="0"/>
              <a:t>ПУТЯВОЙ ТЕХНИКИ</a:t>
            </a:r>
            <a:r>
              <a:rPr lang="ru-RU" sz="5300" u="sng" dirty="0"/>
              <a:t/>
            </a:r>
            <a:br>
              <a:rPr lang="ru-RU" sz="5300" u="sng" dirty="0"/>
            </a:br>
            <a:r>
              <a:rPr lang="lt-LT" dirty="0" smtClean="0"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 </a:t>
            </a:r>
            <a:endParaRPr lang="lt-LT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33450" y="2776989"/>
            <a:ext cx="2857500" cy="214312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A92E5-8757-4730-BC82-9A6D01F49AAB}" type="slidenum">
              <a:rPr lang="lt-LT" smtClean="0"/>
              <a:t>12</a:t>
            </a:fld>
            <a:endParaRPr lang="lt-LT"/>
          </a:p>
        </p:txBody>
      </p:sp>
      <p:sp>
        <p:nvSpPr>
          <p:cNvPr id="7" name="Rectangle 6"/>
          <p:cNvSpPr/>
          <p:nvPr/>
        </p:nvSpPr>
        <p:spPr>
          <a:xfrm>
            <a:off x="114300" y="1892533"/>
            <a:ext cx="414816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u="sng" dirty="0">
                <a:solidFill>
                  <a:srgbClr val="0471B7"/>
                </a:solidFill>
                <a:latin typeface="inherit"/>
              </a:rPr>
              <a:t>Платформа для транспортировки железнодорожных стрелочных переводов ММП-61</a:t>
            </a:r>
            <a:endParaRPr lang="lt-LT" dirty="0">
              <a:solidFill>
                <a:srgbClr val="0471B7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9624" y="2776989"/>
            <a:ext cx="2857500" cy="214312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8539192" y="2031032"/>
            <a:ext cx="292298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u="sng" dirty="0">
                <a:solidFill>
                  <a:srgbClr val="0471B7"/>
                </a:solidFill>
                <a:latin typeface="helvetica neue"/>
              </a:rPr>
              <a:t>Многофункциональная </a:t>
            </a:r>
            <a:endParaRPr lang="ru-RU" b="1" u="sng" dirty="0" smtClean="0">
              <a:solidFill>
                <a:srgbClr val="0471B7"/>
              </a:solidFill>
              <a:latin typeface="helvetica neue"/>
            </a:endParaRPr>
          </a:p>
          <a:p>
            <a:pPr algn="ctr"/>
            <a:r>
              <a:rPr lang="ru-RU" b="1" u="sng" dirty="0" smtClean="0">
                <a:solidFill>
                  <a:srgbClr val="0471B7"/>
                </a:solidFill>
                <a:latin typeface="helvetica neue"/>
              </a:rPr>
              <a:t>машина </a:t>
            </a:r>
            <a:r>
              <a:rPr lang="ru-RU" b="1" u="sng" dirty="0">
                <a:solidFill>
                  <a:srgbClr val="0471B7"/>
                </a:solidFill>
                <a:latin typeface="helvetica neue"/>
              </a:rPr>
              <a:t>КТД</a:t>
            </a:r>
            <a:endParaRPr lang="lt-LT" dirty="0">
              <a:solidFill>
                <a:srgbClr val="0471B7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6300" y="2895044"/>
            <a:ext cx="2857500" cy="214312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4351943" y="1971714"/>
            <a:ext cx="3666838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u="sng" dirty="0">
                <a:solidFill>
                  <a:srgbClr val="0471B7"/>
                </a:solidFill>
                <a:latin typeface="helvetica neue"/>
              </a:rPr>
              <a:t>Самоходная </a:t>
            </a:r>
            <a:r>
              <a:rPr lang="ru-RU" b="1" u="sng" dirty="0" err="1">
                <a:solidFill>
                  <a:srgbClr val="0471B7"/>
                </a:solidFill>
                <a:latin typeface="helvetica neue"/>
              </a:rPr>
              <a:t>железнодоржная</a:t>
            </a:r>
            <a:r>
              <a:rPr lang="ru-RU" b="1" u="sng" dirty="0">
                <a:solidFill>
                  <a:srgbClr val="0471B7"/>
                </a:solidFill>
                <a:latin typeface="helvetica neue"/>
              </a:rPr>
              <a:t> </a:t>
            </a:r>
            <a:endParaRPr lang="ru-RU" b="1" u="sng" dirty="0" smtClean="0">
              <a:solidFill>
                <a:srgbClr val="0471B7"/>
              </a:solidFill>
              <a:latin typeface="helvetica neue"/>
            </a:endParaRPr>
          </a:p>
          <a:p>
            <a:pPr algn="ctr"/>
            <a:r>
              <a:rPr lang="ru-RU" b="1" u="sng" dirty="0" smtClean="0">
                <a:solidFill>
                  <a:srgbClr val="0471B7"/>
                </a:solidFill>
                <a:latin typeface="helvetica neue"/>
              </a:rPr>
              <a:t>дрезина </a:t>
            </a:r>
          </a:p>
          <a:p>
            <a:pPr algn="ctr"/>
            <a:r>
              <a:rPr lang="ru-RU" b="1" u="sng" dirty="0" smtClean="0">
                <a:solidFill>
                  <a:srgbClr val="0471B7"/>
                </a:solidFill>
                <a:latin typeface="helvetica neue"/>
              </a:rPr>
              <a:t>АГРЦ </a:t>
            </a:r>
            <a:r>
              <a:rPr lang="ru-RU" b="1" u="sng" dirty="0">
                <a:solidFill>
                  <a:srgbClr val="0471B7"/>
                </a:solidFill>
                <a:latin typeface="helvetica neue"/>
              </a:rPr>
              <a:t>1200</a:t>
            </a:r>
            <a:endParaRPr lang="lt-LT" dirty="0">
              <a:solidFill>
                <a:srgbClr val="0471B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353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800" u="sng" dirty="0">
                <a:latin typeface="inherit"/>
              </a:rPr>
              <a:t>Модернизация локомотивов</a:t>
            </a:r>
            <a:r>
              <a:rPr lang="ru-RU" sz="4800" u="sng" dirty="0">
                <a:latin typeface="inherit"/>
              </a:rPr>
              <a:t/>
            </a:r>
            <a:br>
              <a:rPr lang="ru-RU" sz="4800" u="sng" dirty="0">
                <a:latin typeface="inherit"/>
              </a:rPr>
            </a:br>
            <a:endParaRPr lang="lt-LT" sz="4800" u="sng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33425" y="2605881"/>
            <a:ext cx="2857500" cy="189547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A92E5-8757-4730-BC82-9A6D01F49AAB}" type="slidenum">
              <a:rPr lang="lt-LT" smtClean="0"/>
              <a:t>13</a:t>
            </a:fld>
            <a:endParaRPr lang="lt-LT"/>
          </a:p>
        </p:txBody>
      </p:sp>
      <p:sp>
        <p:nvSpPr>
          <p:cNvPr id="6" name="Rectangle 5"/>
          <p:cNvSpPr/>
          <p:nvPr/>
        </p:nvSpPr>
        <p:spPr>
          <a:xfrm>
            <a:off x="733425" y="1810435"/>
            <a:ext cx="34575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u="sng" dirty="0" err="1" smtClean="0">
                <a:solidFill>
                  <a:srgbClr val="0471B7"/>
                </a:solidFill>
                <a:latin typeface="inherit"/>
              </a:rPr>
              <a:t>Теполовоз</a:t>
            </a:r>
            <a:r>
              <a:rPr lang="ru-RU" b="1" u="sng" dirty="0" smtClean="0">
                <a:solidFill>
                  <a:srgbClr val="0471B7"/>
                </a:solidFill>
                <a:latin typeface="inherit"/>
              </a:rPr>
              <a:t> </a:t>
            </a:r>
            <a:r>
              <a:rPr lang="ru-RU" b="1" u="sng" dirty="0">
                <a:solidFill>
                  <a:srgbClr val="0471B7"/>
                </a:solidFill>
                <a:latin typeface="inherit"/>
              </a:rPr>
              <a:t>серии 2M62M</a:t>
            </a:r>
            <a:endParaRPr lang="ru-RU" b="1" i="0" u="sng" dirty="0">
              <a:solidFill>
                <a:srgbClr val="0471B7"/>
              </a:solidFill>
              <a:effectLst/>
              <a:latin typeface="inheri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7250" y="4329112"/>
            <a:ext cx="2857500" cy="189547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829898" y="3059668"/>
            <a:ext cx="45322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u="sng" dirty="0">
                <a:solidFill>
                  <a:srgbClr val="0471B7"/>
                </a:solidFill>
              </a:rPr>
              <a:t>Маневровый тепловоз серии ЧМЭ-3М</a:t>
            </a:r>
            <a:endParaRPr lang="lt-LT" b="1" u="sng" dirty="0">
              <a:solidFill>
                <a:srgbClr val="0471B7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76482" y="2155567"/>
            <a:ext cx="42869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u="sng" dirty="0">
                <a:solidFill>
                  <a:srgbClr val="0471B7"/>
                </a:solidFill>
              </a:rPr>
              <a:t>Маневровый тепловоз серии </a:t>
            </a:r>
            <a:r>
              <a:rPr lang="lt-LT" b="1" u="sng" dirty="0">
                <a:solidFill>
                  <a:srgbClr val="0471B7"/>
                </a:solidFill>
              </a:rPr>
              <a:t>T</a:t>
            </a:r>
            <a:r>
              <a:rPr lang="ru-RU" b="1" u="sng" dirty="0">
                <a:solidFill>
                  <a:srgbClr val="0471B7"/>
                </a:solidFill>
              </a:rPr>
              <a:t>Г</a:t>
            </a:r>
            <a:r>
              <a:rPr lang="lt-LT" b="1" u="sng" dirty="0">
                <a:solidFill>
                  <a:srgbClr val="0471B7"/>
                </a:solidFill>
              </a:rPr>
              <a:t>M-4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0575" y="2605881"/>
            <a:ext cx="28575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2832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35"/>
          <a:stretch/>
        </p:blipFill>
        <p:spPr>
          <a:xfrm>
            <a:off x="3339882" y="3368940"/>
            <a:ext cx="8892084" cy="35017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727"/>
          <a:stretch/>
        </p:blipFill>
        <p:spPr>
          <a:xfrm>
            <a:off x="4978677" y="-12700"/>
            <a:ext cx="7274664" cy="33909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-36250" y="-12702"/>
            <a:ext cx="7725711" cy="6873199"/>
          </a:xfrm>
          <a:custGeom>
            <a:avLst/>
            <a:gdLst>
              <a:gd name="connsiteX0" fmla="*/ 0 w 5370250"/>
              <a:gd name="connsiteY0" fmla="*/ 0 h 6845300"/>
              <a:gd name="connsiteX1" fmla="*/ 5370250 w 5370250"/>
              <a:gd name="connsiteY1" fmla="*/ 0 h 6845300"/>
              <a:gd name="connsiteX2" fmla="*/ 5370250 w 5370250"/>
              <a:gd name="connsiteY2" fmla="*/ 6845300 h 6845300"/>
              <a:gd name="connsiteX3" fmla="*/ 0 w 5370250"/>
              <a:gd name="connsiteY3" fmla="*/ 6845300 h 6845300"/>
              <a:gd name="connsiteX4" fmla="*/ 0 w 5370250"/>
              <a:gd name="connsiteY4" fmla="*/ 0 h 6845300"/>
              <a:gd name="connsiteX0" fmla="*/ 0 w 7719750"/>
              <a:gd name="connsiteY0" fmla="*/ 12700 h 6858000"/>
              <a:gd name="connsiteX1" fmla="*/ 7719750 w 7719750"/>
              <a:gd name="connsiteY1" fmla="*/ 0 h 6858000"/>
              <a:gd name="connsiteX2" fmla="*/ 5370250 w 7719750"/>
              <a:gd name="connsiteY2" fmla="*/ 6858000 h 6858000"/>
              <a:gd name="connsiteX3" fmla="*/ 0 w 7719750"/>
              <a:gd name="connsiteY3" fmla="*/ 6858000 h 6858000"/>
              <a:gd name="connsiteX4" fmla="*/ 0 w 7719750"/>
              <a:gd name="connsiteY4" fmla="*/ 12700 h 6858000"/>
              <a:gd name="connsiteX0" fmla="*/ 0 w 7719750"/>
              <a:gd name="connsiteY0" fmla="*/ 12700 h 6858000"/>
              <a:gd name="connsiteX1" fmla="*/ 7719750 w 7719750"/>
              <a:gd name="connsiteY1" fmla="*/ 0 h 6858000"/>
              <a:gd name="connsiteX2" fmla="*/ 3617650 w 7719750"/>
              <a:gd name="connsiteY2" fmla="*/ 6832600 h 6858000"/>
              <a:gd name="connsiteX3" fmla="*/ 0 w 7719750"/>
              <a:gd name="connsiteY3" fmla="*/ 6858000 h 6858000"/>
              <a:gd name="connsiteX4" fmla="*/ 0 w 7719750"/>
              <a:gd name="connsiteY4" fmla="*/ 12700 h 6858000"/>
              <a:gd name="connsiteX0" fmla="*/ 0 w 7707050"/>
              <a:gd name="connsiteY0" fmla="*/ 0 h 6845300"/>
              <a:gd name="connsiteX1" fmla="*/ 7707050 w 7707050"/>
              <a:gd name="connsiteY1" fmla="*/ 12700 h 6845300"/>
              <a:gd name="connsiteX2" fmla="*/ 3617650 w 7707050"/>
              <a:gd name="connsiteY2" fmla="*/ 6819900 h 6845300"/>
              <a:gd name="connsiteX3" fmla="*/ 0 w 7707050"/>
              <a:gd name="connsiteY3" fmla="*/ 6845300 h 6845300"/>
              <a:gd name="connsiteX4" fmla="*/ 0 w 7707050"/>
              <a:gd name="connsiteY4" fmla="*/ 0 h 6845300"/>
              <a:gd name="connsiteX0" fmla="*/ 0 w 7707050"/>
              <a:gd name="connsiteY0" fmla="*/ 0 h 6847789"/>
              <a:gd name="connsiteX1" fmla="*/ 7707050 w 7707050"/>
              <a:gd name="connsiteY1" fmla="*/ 12700 h 6847789"/>
              <a:gd name="connsiteX2" fmla="*/ 3617650 w 7707050"/>
              <a:gd name="connsiteY2" fmla="*/ 6847789 h 6847789"/>
              <a:gd name="connsiteX3" fmla="*/ 0 w 7707050"/>
              <a:gd name="connsiteY3" fmla="*/ 6845300 h 6847789"/>
              <a:gd name="connsiteX4" fmla="*/ 0 w 7707050"/>
              <a:gd name="connsiteY4" fmla="*/ 0 h 6847789"/>
              <a:gd name="connsiteX0" fmla="*/ 0 w 7707050"/>
              <a:gd name="connsiteY0" fmla="*/ 0 h 6847789"/>
              <a:gd name="connsiteX1" fmla="*/ 7707050 w 7707050"/>
              <a:gd name="connsiteY1" fmla="*/ 12700 h 6847789"/>
              <a:gd name="connsiteX2" fmla="*/ 3561666 w 7707050"/>
              <a:gd name="connsiteY2" fmla="*/ 6847789 h 6847789"/>
              <a:gd name="connsiteX3" fmla="*/ 0 w 7707050"/>
              <a:gd name="connsiteY3" fmla="*/ 6845300 h 6847789"/>
              <a:gd name="connsiteX4" fmla="*/ 0 w 7707050"/>
              <a:gd name="connsiteY4" fmla="*/ 0 h 6847789"/>
              <a:gd name="connsiteX0" fmla="*/ 0 w 7725711"/>
              <a:gd name="connsiteY0" fmla="*/ 0 h 6847789"/>
              <a:gd name="connsiteX1" fmla="*/ 7725711 w 7725711"/>
              <a:gd name="connsiteY1" fmla="*/ 12700 h 6847789"/>
              <a:gd name="connsiteX2" fmla="*/ 3561666 w 7725711"/>
              <a:gd name="connsiteY2" fmla="*/ 6847789 h 6847789"/>
              <a:gd name="connsiteX3" fmla="*/ 0 w 7725711"/>
              <a:gd name="connsiteY3" fmla="*/ 6845300 h 6847789"/>
              <a:gd name="connsiteX4" fmla="*/ 0 w 7725711"/>
              <a:gd name="connsiteY4" fmla="*/ 0 h 6847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25711" h="6847789">
                <a:moveTo>
                  <a:pt x="0" y="0"/>
                </a:moveTo>
                <a:lnTo>
                  <a:pt x="7725711" y="12700"/>
                </a:lnTo>
                <a:lnTo>
                  <a:pt x="3561666" y="6847789"/>
                </a:lnTo>
                <a:lnTo>
                  <a:pt x="0" y="6845300"/>
                </a:lnTo>
                <a:lnTo>
                  <a:pt x="0" y="0"/>
                </a:lnTo>
                <a:close/>
              </a:path>
            </a:pathLst>
          </a:custGeom>
          <a:solidFill>
            <a:srgbClr val="0070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2400" dirty="0">
              <a:latin typeface="Proxima Nova ExCn Rg" panose="02000506030000020004" pitchFamily="50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67734" y="1428751"/>
            <a:ext cx="6237606" cy="5033454"/>
            <a:chOff x="4258734" y="1381716"/>
            <a:chExt cx="6237606" cy="5033454"/>
          </a:xfrm>
        </p:grpSpPr>
        <p:sp>
          <p:nvSpPr>
            <p:cNvPr id="8" name="Rectangle 7"/>
            <p:cNvSpPr/>
            <p:nvPr/>
          </p:nvSpPr>
          <p:spPr>
            <a:xfrm>
              <a:off x="4400340" y="5707284"/>
              <a:ext cx="6096000" cy="70788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ru-RU" sz="2000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Планируется начать программу</a:t>
              </a:r>
            </a:p>
            <a:p>
              <a:r>
                <a:rPr lang="ru-RU" sz="2000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покупки электролокомотивов</a:t>
              </a:r>
              <a:endParaRPr lang="lt-LT" sz="2000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10" name="Title 1"/>
            <p:cNvSpPr txBox="1">
              <a:spLocks/>
            </p:cNvSpPr>
            <p:nvPr/>
          </p:nvSpPr>
          <p:spPr>
            <a:xfrm>
              <a:off x="4326291" y="1381716"/>
              <a:ext cx="2287065" cy="777478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endParaRPr lang="lt-LT" sz="4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11" name="Content Placeholder 2"/>
            <p:cNvSpPr txBox="1">
              <a:spLocks/>
            </p:cNvSpPr>
            <p:nvPr/>
          </p:nvSpPr>
          <p:spPr>
            <a:xfrm>
              <a:off x="4446702" y="2509357"/>
              <a:ext cx="5284486" cy="86035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ts val="2600"/>
                </a:lnSpc>
                <a:spcBef>
                  <a:spcPts val="2400"/>
                </a:spcBef>
                <a:buClr>
                  <a:schemeClr val="bg1"/>
                </a:buClr>
                <a:buNone/>
              </a:pPr>
              <a:r>
                <a:rPr lang="lt-LT" sz="2000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Siemens ER20CF – 44</a:t>
              </a:r>
              <a:r>
                <a:rPr lang="ru-RU" sz="2000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шт.</a:t>
              </a:r>
              <a:r>
                <a:rPr lang="lt-LT" sz="2000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</a:p>
            <a:p>
              <a:pPr marL="0" indent="0">
                <a:lnSpc>
                  <a:spcPts val="2600"/>
                </a:lnSpc>
                <a:spcBef>
                  <a:spcPts val="2400"/>
                </a:spcBef>
                <a:buClr>
                  <a:schemeClr val="bg1"/>
                </a:buClr>
                <a:buNone/>
              </a:pPr>
              <a:r>
                <a:rPr lang="lt-LT" sz="2000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TEM TMH – 61 </a:t>
              </a:r>
              <a:r>
                <a:rPr lang="ru-RU" sz="2000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шт.</a:t>
              </a:r>
              <a:endPara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  <a:p>
              <a:pPr marL="0" indent="0">
                <a:lnSpc>
                  <a:spcPts val="2600"/>
                </a:lnSpc>
                <a:spcBef>
                  <a:spcPts val="2400"/>
                </a:spcBef>
                <a:buClr>
                  <a:schemeClr val="bg1"/>
                </a:buClr>
                <a:buNone/>
              </a:pPr>
              <a:r>
                <a:rPr lang="ru-RU" sz="20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ВСЕГО</a:t>
              </a:r>
              <a:r>
                <a:rPr lang="lt-LT" sz="20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– 216</a:t>
              </a:r>
              <a:r>
                <a:rPr lang="ru-RU" sz="20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шт.</a:t>
              </a:r>
              <a:r>
                <a:rPr lang="lt-LT" sz="20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	</a:t>
              </a:r>
            </a:p>
          </p:txBody>
        </p:sp>
        <p:sp>
          <p:nvSpPr>
            <p:cNvPr id="13" name="Content Placeholder 2"/>
            <p:cNvSpPr txBox="1">
              <a:spLocks/>
            </p:cNvSpPr>
            <p:nvPr/>
          </p:nvSpPr>
          <p:spPr>
            <a:xfrm>
              <a:off x="4707200" y="3254041"/>
              <a:ext cx="4269551" cy="680929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ts val="2600"/>
                </a:lnSpc>
                <a:spcBef>
                  <a:spcPts val="0"/>
                </a:spcBef>
                <a:buNone/>
              </a:pPr>
              <a:endParaRPr lang="lt-LT" sz="16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707200" y="1869097"/>
              <a:ext cx="432526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lt-LT" sz="2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707200" y="2353401"/>
              <a:ext cx="301080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lt-LT" sz="2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sp>
          <p:nvSpPr>
            <p:cNvPr id="16" name="Title 1"/>
            <p:cNvSpPr txBox="1">
              <a:spLocks/>
            </p:cNvSpPr>
            <p:nvPr/>
          </p:nvSpPr>
          <p:spPr>
            <a:xfrm>
              <a:off x="4258734" y="5168325"/>
              <a:ext cx="3047605" cy="68347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r>
                <a:rPr lang="lt-LT" sz="36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2019–2020 </a:t>
              </a:r>
              <a:r>
                <a:rPr lang="ru-RU" sz="36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г.</a:t>
              </a:r>
              <a:endParaRPr lang="lt-LT" sz="3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15327" y="209823"/>
            <a:ext cx="7137400" cy="1325563"/>
          </a:xfrm>
          <a:ln>
            <a:noFill/>
          </a:ln>
        </p:spPr>
        <p:txBody>
          <a:bodyPr>
            <a:normAutofit/>
          </a:bodyPr>
          <a:lstStyle/>
          <a:p>
            <a:r>
              <a:rPr lang="ru-RU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ЛОКОМОТИВЫ</a:t>
            </a:r>
            <a:endParaRPr lang="lt-LT" sz="48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351100" y="419446"/>
            <a:ext cx="40532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351100" y="1236052"/>
            <a:ext cx="40532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5627009" y="3365500"/>
            <a:ext cx="6323691" cy="759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8631" y="771025"/>
            <a:ext cx="2654710" cy="61077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780776" y="6334106"/>
            <a:ext cx="44564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3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IEMENS ER20CF</a:t>
            </a:r>
            <a:endParaRPr lang="lt-LT" sz="28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883140" y="2799733"/>
            <a:ext cx="23702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36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TEM TMH</a:t>
            </a:r>
            <a:endParaRPr lang="lt-LT" sz="2800" b="1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367232" y="5064481"/>
            <a:ext cx="33087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3125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14514" y="-19050"/>
            <a:ext cx="12206514" cy="6872514"/>
          </a:xfrm>
          <a:prstGeom prst="rect">
            <a:avLst/>
          </a:prstGeom>
          <a:solidFill>
            <a:srgbClr val="0070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grpSp>
        <p:nvGrpSpPr>
          <p:cNvPr id="12" name="Group 11"/>
          <p:cNvGrpSpPr/>
          <p:nvPr/>
        </p:nvGrpSpPr>
        <p:grpSpPr>
          <a:xfrm>
            <a:off x="2276474" y="4514851"/>
            <a:ext cx="9915525" cy="2049146"/>
            <a:chOff x="2646949" y="5152571"/>
            <a:chExt cx="8704009" cy="1678125"/>
          </a:xfrm>
        </p:grpSpPr>
        <p:sp>
          <p:nvSpPr>
            <p:cNvPr id="5" name="Rectangle 4"/>
            <p:cNvSpPr/>
            <p:nvPr/>
          </p:nvSpPr>
          <p:spPr>
            <a:xfrm>
              <a:off x="2646949" y="5289377"/>
              <a:ext cx="8704008" cy="15413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ct val="107000"/>
                </a:lnSpc>
                <a:spcAft>
                  <a:spcPts val="800"/>
                </a:spcAft>
                <a:buSzPts val="1600"/>
              </a:pPr>
              <a:r>
                <a:rPr lang="ru-RU" sz="4400" b="1" dirty="0" smtClean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  </a:t>
              </a:r>
              <a:r>
                <a:rPr lang="ru-RU" sz="4000" b="1" dirty="0" smtClean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ЧАСНЫЙ ПОДВИЖНОЙ СОСТАВ </a:t>
              </a:r>
              <a:r>
                <a:rPr lang="ru-RU" sz="40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В</a:t>
              </a:r>
              <a:r>
                <a:rPr lang="ru-RU" sz="4000" b="1" dirty="0" smtClean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4400" b="1" dirty="0" smtClean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ЛИТВЕ</a:t>
              </a:r>
              <a:endParaRPr lang="lt-LT" sz="4400" dirty="0">
                <a:solidFill>
                  <a:schemeClr val="bg1"/>
                </a:solidFill>
                <a:effectLst/>
                <a:latin typeface="Source Sans Pro" panose="020B0503030403020204" pitchFamily="34" charset="0"/>
                <a:ea typeface="Source Sans Pro" panose="020B050303040302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5224478" y="5152571"/>
              <a:ext cx="61264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050"/>
            <a:ext cx="7764385" cy="6877050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5288280" y="5973935"/>
            <a:ext cx="61264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7952BC7A-5CA6-4B93-8968-491102F91BF0}"/>
              </a:ext>
            </a:extLst>
          </p:cNvPr>
          <p:cNvSpPr txBox="1"/>
          <p:nvPr/>
        </p:nvSpPr>
        <p:spPr>
          <a:xfrm>
            <a:off x="9584142" y="75501"/>
            <a:ext cx="2607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A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О</a:t>
            </a:r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 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«</a:t>
            </a:r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LG CARGO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»</a:t>
            </a:r>
            <a:endParaRPr lang="lt-LT" sz="12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  <a:p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Часть группы «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Литовски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железны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дорог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»</a:t>
            </a:r>
            <a:endParaRPr lang="lt-LT" sz="8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269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463" y="398243"/>
            <a:ext cx="11521987" cy="498483"/>
          </a:xfrm>
        </p:spPr>
        <p:txBody>
          <a:bodyPr>
            <a:noAutofit/>
          </a:bodyPr>
          <a:lstStyle/>
          <a:p>
            <a:pPr algn="ctr"/>
            <a:r>
              <a:rPr lang="ru-RU" sz="3800" b="1" dirty="0" smtClean="0">
                <a:solidFill>
                  <a:srgbClr val="0471B7"/>
                </a:solidFill>
                <a:latin typeface="Source Sans Pro"/>
              </a:rPr>
              <a:t> </a:t>
            </a:r>
            <a:r>
              <a:rPr lang="ru-RU" sz="3800" b="1" u="sng" dirty="0" smtClean="0">
                <a:solidFill>
                  <a:srgbClr val="0471B7"/>
                </a:solidFill>
                <a:latin typeface="Source Sans Pro"/>
              </a:rPr>
              <a:t>Частный вагонный парк </a:t>
            </a:r>
            <a:r>
              <a:rPr lang="ru-RU" sz="3800" b="1" u="sng" dirty="0">
                <a:solidFill>
                  <a:srgbClr val="0471B7"/>
                </a:solidFill>
                <a:latin typeface="Source Sans Pro"/>
              </a:rPr>
              <a:t>в Литве</a:t>
            </a:r>
            <a:endParaRPr lang="en-US" sz="3800" b="1" u="sng" dirty="0">
              <a:solidFill>
                <a:srgbClr val="0471B7"/>
              </a:solidFill>
              <a:latin typeface="Source Sans Pro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6</a:t>
            </a:fld>
            <a:endParaRPr lang="en-US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xmlns="" id="{63993441-04CA-485E-BA9D-C1A569C2AB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3200774"/>
              </p:ext>
            </p:extLst>
          </p:nvPr>
        </p:nvGraphicFramePr>
        <p:xfrm>
          <a:off x="636539" y="1339895"/>
          <a:ext cx="10431359" cy="4484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6"/>
          <p:cNvSpPr/>
          <p:nvPr/>
        </p:nvSpPr>
        <p:spPr>
          <a:xfrm>
            <a:off x="1477293" y="5403763"/>
            <a:ext cx="1206729" cy="3087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rgbClr val="0471B7"/>
                </a:solidFill>
              </a:rPr>
              <a:t>Полувагоны</a:t>
            </a:r>
            <a:endParaRPr lang="en-US" sz="1100" b="1" dirty="0">
              <a:solidFill>
                <a:srgbClr val="0471B7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834257" y="5403763"/>
            <a:ext cx="1328173" cy="3952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rgbClr val="0471B7"/>
                </a:solidFill>
              </a:rPr>
              <a:t>Крытые вагоны</a:t>
            </a:r>
            <a:endParaRPr lang="en-US" sz="1050" b="1" dirty="0">
              <a:solidFill>
                <a:srgbClr val="0471B7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186574" y="5442121"/>
            <a:ext cx="998362" cy="2814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rgbClr val="0471B7"/>
                </a:solidFill>
              </a:rPr>
              <a:t>Цистерны</a:t>
            </a:r>
            <a:endParaRPr lang="en-US" sz="1100" b="1" dirty="0">
              <a:solidFill>
                <a:srgbClr val="0471B7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231466" y="5370639"/>
            <a:ext cx="1292466" cy="2814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err="1" smtClean="0">
                <a:solidFill>
                  <a:srgbClr val="0471B7"/>
                </a:solidFill>
              </a:rPr>
              <a:t>Минераловозы</a:t>
            </a:r>
            <a:endParaRPr lang="en-US" sz="1100" b="1" dirty="0">
              <a:solidFill>
                <a:srgbClr val="0471B7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514225" y="5442121"/>
            <a:ext cx="1206729" cy="292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rgbClr val="0471B7"/>
                </a:solidFill>
              </a:rPr>
              <a:t>Цементовозы</a:t>
            </a:r>
            <a:endParaRPr lang="en-US" sz="1100" b="1" dirty="0">
              <a:solidFill>
                <a:srgbClr val="0471B7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981206" y="5431070"/>
            <a:ext cx="1090169" cy="3679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rgbClr val="0471B7"/>
                </a:solidFill>
              </a:rPr>
              <a:t>З</a:t>
            </a:r>
            <a:r>
              <a:rPr lang="ru-RU" sz="1100" b="1" dirty="0" smtClean="0">
                <a:solidFill>
                  <a:srgbClr val="0471B7"/>
                </a:solidFill>
              </a:rPr>
              <a:t>ерновозы</a:t>
            </a:r>
            <a:endParaRPr lang="en-US" sz="1100" b="1" dirty="0">
              <a:solidFill>
                <a:srgbClr val="0471B7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178229" y="5403763"/>
            <a:ext cx="1206729" cy="2814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err="1" smtClean="0">
                <a:solidFill>
                  <a:srgbClr val="0471B7"/>
                </a:solidFill>
              </a:rPr>
              <a:t>Фитинговые</a:t>
            </a:r>
            <a:r>
              <a:rPr lang="ru-RU" sz="1100" b="1" dirty="0" smtClean="0">
                <a:solidFill>
                  <a:schemeClr val="tx1"/>
                </a:solidFill>
              </a:rPr>
              <a:t> </a:t>
            </a:r>
            <a:r>
              <a:rPr lang="ru-RU" sz="1100" b="1" dirty="0" smtClean="0">
                <a:solidFill>
                  <a:srgbClr val="0471B7"/>
                </a:solidFill>
              </a:rPr>
              <a:t>платформы</a:t>
            </a:r>
            <a:endParaRPr lang="en-US" sz="1100" b="1" dirty="0">
              <a:solidFill>
                <a:srgbClr val="0471B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409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10386"/>
            <a:ext cx="11521987" cy="526298"/>
          </a:xfrm>
        </p:spPr>
        <p:txBody>
          <a:bodyPr/>
          <a:lstStyle/>
          <a:p>
            <a:pPr algn="ctr"/>
            <a:r>
              <a:rPr lang="ru-RU" sz="3800" b="1" u="sng" dirty="0">
                <a:solidFill>
                  <a:srgbClr val="0471B7"/>
                </a:solidFill>
                <a:latin typeface="Source Sans Pro"/>
              </a:rPr>
              <a:t>Рост частного вагонного парка в Литве</a:t>
            </a:r>
            <a:endParaRPr lang="lt-LT" sz="3800" b="1" u="sng" dirty="0">
              <a:solidFill>
                <a:srgbClr val="0471B7"/>
              </a:solidFill>
              <a:latin typeface="Source Sans Pr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51" name="Content Placeholder 5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0545122"/>
              </p:ext>
            </p:extLst>
          </p:nvPr>
        </p:nvGraphicFramePr>
        <p:xfrm>
          <a:off x="1338682" y="1334153"/>
          <a:ext cx="10516767" cy="4276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65349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5150A13D-8BFB-4BEE-91BB-ACDC0EC8B015}"/>
              </a:ext>
            </a:extLst>
          </p:cNvPr>
          <p:cNvSpPr txBox="1"/>
          <p:nvPr/>
        </p:nvSpPr>
        <p:spPr>
          <a:xfrm>
            <a:off x="430943" y="495300"/>
            <a:ext cx="28592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A</a:t>
            </a:r>
            <a:r>
              <a:rPr lang="ru-RU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О</a:t>
            </a:r>
            <a:r>
              <a:rPr lang="lt-LT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 </a:t>
            </a:r>
            <a:r>
              <a:rPr lang="ru-RU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«</a:t>
            </a:r>
            <a:r>
              <a:rPr lang="lt-LT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LG CARGO</a:t>
            </a:r>
            <a:r>
              <a:rPr lang="ru-RU" sz="16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»</a:t>
            </a:r>
            <a:endParaRPr lang="lt-LT" sz="16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  <a:p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Часть группы «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Литовски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железны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дорог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»</a:t>
            </a:r>
            <a:endParaRPr lang="lt-LT" sz="8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7020C4ED-5564-46AA-8126-3D73B1643A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863" y="3432441"/>
            <a:ext cx="2684711" cy="7473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30943" y="1371600"/>
            <a:ext cx="656272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800"/>
              </a:lnSpc>
            </a:pPr>
            <a:r>
              <a:rPr lang="lt-LT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LG</a:t>
            </a:r>
            <a:r>
              <a:rPr lang="ru-RU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lt-LT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ARGO - </a:t>
            </a:r>
            <a:r>
              <a:rPr lang="ru-RU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</a:p>
          <a:p>
            <a:pPr>
              <a:lnSpc>
                <a:spcPts val="4800"/>
              </a:lnSpc>
            </a:pPr>
            <a:r>
              <a:rPr lang="ru-RU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ВАШ НАДЁЖНЫЙ ПАРТНЁР</a:t>
            </a:r>
            <a:endParaRPr lang="lt-LT" sz="4800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D0530397-3556-47E9-80F5-9A85AE6FBFF6}"/>
              </a:ext>
            </a:extLst>
          </p:cNvPr>
          <p:cNvSpPr/>
          <p:nvPr/>
        </p:nvSpPr>
        <p:spPr>
          <a:xfrm>
            <a:off x="552864" y="4404359"/>
            <a:ext cx="3159442" cy="2011681"/>
          </a:xfrm>
          <a:prstGeom prst="rect">
            <a:avLst/>
          </a:prstGeom>
          <a:solidFill>
            <a:srgbClr val="0471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6" name="Text Placeholder 4">
            <a:extLst>
              <a:ext uri="{FF2B5EF4-FFF2-40B4-BE49-F238E27FC236}">
                <a16:creationId xmlns="" xmlns:a16="http://schemas.microsoft.com/office/drawing/2014/main" id="{578D8F31-CBE2-4264-BBB9-8B2CF4D23A40}"/>
              </a:ext>
            </a:extLst>
          </p:cNvPr>
          <p:cNvSpPr txBox="1">
            <a:spLocks/>
          </p:cNvSpPr>
          <p:nvPr/>
        </p:nvSpPr>
        <p:spPr>
          <a:xfrm>
            <a:off x="622994" y="5212633"/>
            <a:ext cx="2912391" cy="9803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Source Sans Pro" charset="0"/>
                <a:ea typeface="Source Sans Pro" charset="0"/>
                <a:cs typeface="Source Sans Pro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</a:pPr>
            <a:r>
              <a:rPr lang="ru-RU" sz="2000" dirty="0">
                <a:solidFill>
                  <a:schemeClr val="bg1"/>
                </a:solidFill>
              </a:rPr>
              <a:t>+370 5</a:t>
            </a:r>
            <a:r>
              <a:rPr lang="en-US" sz="2000" dirty="0">
                <a:solidFill>
                  <a:schemeClr val="bg1"/>
                </a:solidFill>
              </a:rPr>
              <a:t> </a:t>
            </a:r>
            <a:r>
              <a:rPr lang="ru-RU" sz="2000" dirty="0">
                <a:solidFill>
                  <a:schemeClr val="bg1"/>
                </a:solidFill>
              </a:rPr>
              <a:t>202 1515</a:t>
            </a:r>
            <a:endParaRPr lang="lt-LT" sz="2000" dirty="0">
              <a:solidFill>
                <a:schemeClr val="bg1"/>
              </a:solidFill>
            </a:endParaRPr>
          </a:p>
          <a:p>
            <a:pPr>
              <a:lnSpc>
                <a:spcPts val="1800"/>
              </a:lnSpc>
            </a:pPr>
            <a:r>
              <a:rPr lang="en-US" sz="2000" dirty="0">
                <a:solidFill>
                  <a:schemeClr val="bg1"/>
                </a:solidFill>
              </a:rPr>
              <a:t>sales</a:t>
            </a:r>
            <a:r>
              <a:rPr lang="ru-RU" sz="2000" dirty="0">
                <a:solidFill>
                  <a:schemeClr val="bg1"/>
                </a:solidFill>
              </a:rPr>
              <a:t>@</a:t>
            </a:r>
            <a:r>
              <a:rPr lang="en-US" sz="2000" dirty="0" err="1">
                <a:solidFill>
                  <a:schemeClr val="bg1"/>
                </a:solidFill>
              </a:rPr>
              <a:t>litrail</a:t>
            </a:r>
            <a:r>
              <a:rPr lang="ru-RU" sz="2000" dirty="0">
                <a:solidFill>
                  <a:schemeClr val="bg1"/>
                </a:solidFill>
              </a:rPr>
              <a:t>.</a:t>
            </a:r>
            <a:r>
              <a:rPr lang="en-US" sz="2000" dirty="0" err="1">
                <a:solidFill>
                  <a:schemeClr val="bg1"/>
                </a:solidFill>
              </a:rPr>
              <a:t>lt</a:t>
            </a:r>
            <a:endParaRPr lang="lt-LT" sz="2000" dirty="0">
              <a:solidFill>
                <a:schemeClr val="bg1"/>
              </a:solidFill>
            </a:endParaRPr>
          </a:p>
          <a:p>
            <a:pPr>
              <a:lnSpc>
                <a:spcPts val="1800"/>
              </a:lnSpc>
            </a:pPr>
            <a:r>
              <a:rPr lang="en-US" sz="2000" dirty="0">
                <a:solidFill>
                  <a:schemeClr val="bg1"/>
                </a:solidFill>
              </a:rPr>
              <a:t>www</a:t>
            </a:r>
            <a:r>
              <a:rPr lang="ru-RU" sz="2000" dirty="0">
                <a:solidFill>
                  <a:schemeClr val="bg1"/>
                </a:solidFill>
              </a:rPr>
              <a:t>.</a:t>
            </a:r>
            <a:r>
              <a:rPr lang="en-US" sz="2000" dirty="0" err="1">
                <a:solidFill>
                  <a:schemeClr val="bg1"/>
                </a:solidFill>
              </a:rPr>
              <a:t>litrail</a:t>
            </a:r>
            <a:r>
              <a:rPr lang="ru-RU" sz="2000" dirty="0">
                <a:solidFill>
                  <a:schemeClr val="bg1"/>
                </a:solidFill>
              </a:rPr>
              <a:t>.</a:t>
            </a:r>
            <a:r>
              <a:rPr lang="en-US" sz="2000" dirty="0" err="1">
                <a:solidFill>
                  <a:schemeClr val="bg1"/>
                </a:solidFill>
              </a:rPr>
              <a:t>lt</a:t>
            </a:r>
            <a:r>
              <a:rPr lang="ru-RU" sz="2000" dirty="0">
                <a:solidFill>
                  <a:schemeClr val="bg1"/>
                </a:solidFill>
              </a:rPr>
              <a:t> </a:t>
            </a:r>
            <a:endParaRPr lang="en-US" sz="2000" b="1" dirty="0"/>
          </a:p>
          <a:p>
            <a:pPr>
              <a:spcBef>
                <a:spcPts val="0"/>
              </a:spcBef>
            </a:pPr>
            <a:endParaRPr lang="en-US" sz="2000" dirty="0"/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B36DFE84-FFAC-4445-9530-83702C1524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943" y="4404359"/>
            <a:ext cx="3328704" cy="963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12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14514" y="-14514"/>
            <a:ext cx="12206514" cy="6872514"/>
          </a:xfrm>
          <a:prstGeom prst="rect">
            <a:avLst/>
          </a:prstGeom>
          <a:solidFill>
            <a:srgbClr val="0070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grpSp>
        <p:nvGrpSpPr>
          <p:cNvPr id="12" name="Group 11"/>
          <p:cNvGrpSpPr/>
          <p:nvPr/>
        </p:nvGrpSpPr>
        <p:grpSpPr>
          <a:xfrm>
            <a:off x="9593684" y="4885871"/>
            <a:ext cx="3511246" cy="986507"/>
            <a:chOff x="9489348" y="5152571"/>
            <a:chExt cx="3403597" cy="986507"/>
          </a:xfrm>
        </p:grpSpPr>
        <p:sp>
          <p:nvSpPr>
            <p:cNvPr id="5" name="Rectangle 4"/>
            <p:cNvSpPr/>
            <p:nvPr/>
          </p:nvSpPr>
          <p:spPr>
            <a:xfrm>
              <a:off x="9489348" y="5256400"/>
              <a:ext cx="3403597" cy="8826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07000"/>
                </a:lnSpc>
                <a:spcAft>
                  <a:spcPts val="800"/>
                </a:spcAft>
                <a:buSzPts val="1600"/>
              </a:pPr>
              <a:r>
                <a:rPr lang="ru-RU" sz="48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О НАС</a:t>
              </a:r>
              <a:endParaRPr lang="lt-LT" sz="4800" dirty="0">
                <a:solidFill>
                  <a:schemeClr val="bg1"/>
                </a:solidFill>
                <a:effectLst/>
                <a:latin typeface="Source Sans Pro" panose="020B0503030403020204" pitchFamily="34" charset="0"/>
                <a:ea typeface="Source Sans Pro" panose="020B050303040302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9552660" y="5152571"/>
              <a:ext cx="163848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-19050"/>
            <a:ext cx="7764385" cy="6877050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9674766" y="5963187"/>
            <a:ext cx="167454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6532188-740C-4664-BF35-D2E73A4D56B1}"/>
              </a:ext>
            </a:extLst>
          </p:cNvPr>
          <p:cNvSpPr txBox="1"/>
          <p:nvPr/>
        </p:nvSpPr>
        <p:spPr>
          <a:xfrm>
            <a:off x="9584142" y="75501"/>
            <a:ext cx="2607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A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О</a:t>
            </a:r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 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«</a:t>
            </a:r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LG CARGO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»</a:t>
            </a:r>
            <a:endParaRPr lang="lt-LT" sz="12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  <a:p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Часть группы «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Литовски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железны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дорог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»</a:t>
            </a:r>
            <a:endParaRPr lang="lt-LT" sz="8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973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1278" y="108285"/>
            <a:ext cx="12192000" cy="1133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4000"/>
              </a:lnSpc>
            </a:pPr>
            <a:r>
              <a:rPr lang="ru-RU" sz="4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ИНФОРМАЦИЯ </a:t>
            </a:r>
            <a:endParaRPr lang="en-US" sz="40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lnSpc>
                <a:spcPts val="4000"/>
              </a:lnSpc>
            </a:pPr>
            <a:r>
              <a:rPr lang="ru-RU" sz="4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О</a:t>
            </a:r>
            <a:r>
              <a:rPr lang="en-US" sz="4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ru-RU" sz="40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КОМПАНИИ</a:t>
            </a:r>
            <a:endParaRPr lang="lt-LT" sz="40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Proxima Nova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3644" y="1412975"/>
            <a:ext cx="2684711" cy="74735"/>
          </a:xfrm>
          <a:prstGeom prst="rect">
            <a:avLst/>
          </a:prstGeom>
        </p:spPr>
      </p:pic>
      <p:sp>
        <p:nvSpPr>
          <p:cNvPr id="9" name="Rectangle 3"/>
          <p:cNvSpPr txBox="1"/>
          <p:nvPr/>
        </p:nvSpPr>
        <p:spPr>
          <a:xfrm>
            <a:off x="-1278" y="608881"/>
            <a:ext cx="12193278" cy="7095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lnSpc>
                <a:spcPts val="6000"/>
              </a:lnSpc>
              <a:defRPr sz="6000" b="1">
                <a:solidFill>
                  <a:srgbClr val="FFFFFF"/>
                </a:solidFill>
                <a:latin typeface="Proxima Nova Black"/>
                <a:ea typeface="Proxima Nova Black"/>
                <a:cs typeface="Proxima Nova Black"/>
                <a:sym typeface="Proxima Nova Black"/>
              </a:defRPr>
            </a:lvl1pPr>
          </a:lstStyle>
          <a:p>
            <a:pPr>
              <a:lnSpc>
                <a:spcPts val="4800"/>
              </a:lnSpc>
            </a:pPr>
            <a:r>
              <a:rPr lang="ru-RU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ИНФОРМАЦИЯ О</a:t>
            </a:r>
            <a:r>
              <a:rPr lang="en-US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ru-RU" sz="4800" dirty="0">
                <a:solidFill>
                  <a:srgbClr val="0471B7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КОМПАНИИ</a:t>
            </a:r>
            <a:endParaRPr lang="lt-LT" sz="4800" dirty="0">
              <a:solidFill>
                <a:srgbClr val="0471B7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Proxima Nova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070" y="1904119"/>
            <a:ext cx="3873635" cy="4484648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8099267" y="1904119"/>
            <a:ext cx="3873635" cy="4484648"/>
          </a:xfrm>
          <a:prstGeom prst="rect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4" name="Rectangle 13"/>
          <p:cNvSpPr/>
          <p:nvPr/>
        </p:nvSpPr>
        <p:spPr>
          <a:xfrm>
            <a:off x="4159181" y="1904119"/>
            <a:ext cx="3873635" cy="4484648"/>
          </a:xfrm>
          <a:prstGeom prst="rect">
            <a:avLst/>
          </a:prstGeom>
          <a:solidFill>
            <a:srgbClr val="149E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8" name="Viena didžiausių ir moderniausių transporto įmonių Lietuvoje."/>
          <p:cNvSpPr txBox="1"/>
          <p:nvPr/>
        </p:nvSpPr>
        <p:spPr>
          <a:xfrm>
            <a:off x="204431" y="3904713"/>
            <a:ext cx="3874274" cy="9387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defTabSz="822960">
              <a:defRPr sz="1400" b="1">
                <a:solidFill>
                  <a:srgbClr val="FFFFFF"/>
                </a:solidFill>
                <a:uFill>
                  <a:solidFill>
                    <a:srgbClr val="000000"/>
                  </a:solidFill>
                </a:uFill>
                <a:latin typeface="Source Sans Pro"/>
                <a:ea typeface="Source Sans Pro"/>
                <a:cs typeface="Source Sans Pro"/>
                <a:sym typeface="Source Sans Pro"/>
              </a:defRPr>
            </a:lvl1pPr>
          </a:lstStyle>
          <a:p>
            <a:pPr algn="ctr">
              <a:lnSpc>
                <a:spcPts val="2200"/>
              </a:lnSpc>
            </a:pPr>
            <a:r>
              <a:rPr lang="ru-RU" sz="2000" dirty="0"/>
              <a:t>Литва – транспортный</a:t>
            </a:r>
            <a:br>
              <a:rPr lang="ru-RU" sz="2000" dirty="0"/>
            </a:br>
            <a:r>
              <a:rPr lang="ru-RU" sz="2000" dirty="0"/>
              <a:t>и логистический мост</a:t>
            </a:r>
            <a:br>
              <a:rPr lang="ru-RU" sz="2000" dirty="0"/>
            </a:br>
            <a:r>
              <a:rPr lang="ru-RU" sz="2000" dirty="0"/>
              <a:t>между Востоком и Западом</a:t>
            </a:r>
            <a:endParaRPr lang="en-US" sz="2000" dirty="0"/>
          </a:p>
        </p:txBody>
      </p:sp>
      <p:sp>
        <p:nvSpPr>
          <p:cNvPr id="22" name="Viena didžiausių ir moderniausių transporto įmonių Lietuvoje."/>
          <p:cNvSpPr txBox="1"/>
          <p:nvPr/>
        </p:nvSpPr>
        <p:spPr>
          <a:xfrm>
            <a:off x="8098629" y="3891776"/>
            <a:ext cx="3820492" cy="12208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defTabSz="822960">
              <a:defRPr sz="1400" b="1">
                <a:solidFill>
                  <a:srgbClr val="FFFFFF"/>
                </a:solidFill>
                <a:uFill>
                  <a:solidFill>
                    <a:srgbClr val="000000"/>
                  </a:solidFill>
                </a:uFill>
                <a:latin typeface="Source Sans Pro"/>
                <a:ea typeface="Source Sans Pro"/>
                <a:cs typeface="Source Sans Pro"/>
                <a:sym typeface="Source Sans Pro"/>
              </a:defRPr>
            </a:lvl1pPr>
          </a:lstStyle>
          <a:p>
            <a:pPr algn="ctr">
              <a:lnSpc>
                <a:spcPts val="2200"/>
              </a:lnSpc>
            </a:pPr>
            <a:r>
              <a:rPr lang="ru-RU" sz="2000" dirty="0"/>
              <a:t>Одна из самых современных железнодорожных компаний </a:t>
            </a:r>
            <a:r>
              <a:rPr lang="en-US" sz="2000" dirty="0"/>
              <a:t>                  </a:t>
            </a:r>
            <a:r>
              <a:rPr lang="ru-RU" sz="2000" dirty="0"/>
              <a:t>в Восточной  и Центральной Европе</a:t>
            </a:r>
            <a:endParaRPr lang="lt-LT" sz="2000" dirty="0"/>
          </a:p>
        </p:txBody>
      </p:sp>
      <p:sp>
        <p:nvSpPr>
          <p:cNvPr id="23" name="Rectangle 22"/>
          <p:cNvSpPr/>
          <p:nvPr/>
        </p:nvSpPr>
        <p:spPr>
          <a:xfrm>
            <a:off x="4224994" y="1948017"/>
            <a:ext cx="3873635" cy="511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ru-RU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Парк подвижного </a:t>
            </a:r>
            <a:endParaRPr lang="en-US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alibri" panose="020F0502020204030204" pitchFamily="34" charset="0"/>
            </a:endParaRPr>
          </a:p>
          <a:p>
            <a:pPr>
              <a:lnSpc>
                <a:spcPts val="1600"/>
              </a:lnSpc>
            </a:pPr>
            <a:r>
              <a:rPr lang="ru-RU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состава</a:t>
            </a:r>
            <a:r>
              <a:rPr lang="lt-LT" sz="12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:</a:t>
            </a:r>
            <a:endParaRPr lang="lt-LT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1200294" y="3739590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200294" y="5135259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9264965" y="3739590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9252937" y="5124651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4222261" y="2944438"/>
            <a:ext cx="2101857" cy="511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600"/>
              </a:lnSpc>
            </a:pPr>
            <a:r>
              <a:rPr lang="ru-RU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Интермодальные </a:t>
            </a:r>
            <a:endParaRPr lang="en-US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>
              <a:lnSpc>
                <a:spcPts val="1600"/>
              </a:lnSpc>
            </a:pPr>
            <a:r>
              <a:rPr lang="ru-RU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терминалы в</a:t>
            </a:r>
            <a:r>
              <a:rPr lang="lt-LT" sz="12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:</a:t>
            </a:r>
            <a:endParaRPr lang="lt-LT" sz="1200" dirty="0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222261" y="3427951"/>
            <a:ext cx="38523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Вильнюс</a:t>
            </a:r>
            <a:r>
              <a:rPr lang="lt-LT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e</a:t>
            </a:r>
          </a:p>
          <a:p>
            <a:pPr marL="342900" indent="-34290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Каунас</a:t>
            </a:r>
            <a:r>
              <a:rPr lang="lt-LT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e</a:t>
            </a:r>
          </a:p>
          <a:p>
            <a:pPr marL="342900" indent="-34290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Шяштокай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Atstovybių tinklas:…"/>
          <p:cNvSpPr txBox="1"/>
          <p:nvPr/>
        </p:nvSpPr>
        <p:spPr>
          <a:xfrm>
            <a:off x="9088852" y="4480727"/>
            <a:ext cx="2809152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 marL="285750" indent="-285750" defTabSz="822960">
              <a:buFont typeface="Arial" panose="020B0604020202020204" pitchFamily="34" charset="0"/>
              <a:buChar char="•"/>
              <a:defRPr sz="1400">
                <a:solidFill>
                  <a:srgbClr val="FFFFFF"/>
                </a:solidFill>
                <a:uFill>
                  <a:solidFill>
                    <a:srgbClr val="000000"/>
                  </a:solidFill>
                </a:uFill>
                <a:latin typeface="Source Sans Pro Light"/>
                <a:ea typeface="Source Sans Pro Light"/>
                <a:cs typeface="Source Sans Pro Light"/>
                <a:sym typeface="Source Sans Pro Light"/>
              </a:defRPr>
            </a:pPr>
            <a:endParaRPr lang="lt-LT" dirty="0"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222261" y="4117173"/>
            <a:ext cx="38523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Сеть представительств</a:t>
            </a:r>
            <a:r>
              <a:rPr lang="ru-RU" sz="12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:</a:t>
            </a:r>
            <a:endParaRPr lang="ru-RU" sz="16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222261" y="4435528"/>
            <a:ext cx="38523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Клайпеда (Литва)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360363" indent="-360363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Беларусь (Минск)</a:t>
            </a:r>
          </a:p>
          <a:p>
            <a:pPr marL="360363" indent="-360363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Россия (Москва)</a:t>
            </a:r>
          </a:p>
          <a:p>
            <a:pPr marL="360363" indent="-360363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Казахстан (Астана)</a:t>
            </a:r>
          </a:p>
          <a:p>
            <a:pPr marL="360363" indent="-360363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Китай (Пекин)</a:t>
            </a:r>
          </a:p>
          <a:p>
            <a:pPr marL="360363" indent="-360363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Польша (Варшава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4221833" y="5523337"/>
            <a:ext cx="38523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lt-LT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r>
              <a:rPr lang="ru-RU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Ширина колеи</a:t>
            </a:r>
            <a:r>
              <a:rPr lang="en-US" sz="12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:</a:t>
            </a:r>
            <a:r>
              <a:rPr lang="ru-RU" sz="12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endParaRPr lang="en-US" sz="12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4753644" y="5845688"/>
            <a:ext cx="301806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                       </a:t>
            </a:r>
            <a:r>
              <a:rPr lang="ru-RU" sz="1400" dirty="0" smtClean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1520 </a:t>
            </a: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мм и 1435 мм </a:t>
            </a:r>
            <a:endParaRPr lang="ru-RU" sz="12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243734" y="2419137"/>
            <a:ext cx="3830831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8000+ </a:t>
            </a: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вагонов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ts val="1600"/>
              </a:lnSpc>
              <a:buFont typeface="Arial" panose="020B0604020202020204" pitchFamily="34" charset="0"/>
              <a:buChar char="•"/>
            </a:pPr>
            <a:r>
              <a:rPr lang="lt-LT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200+ </a:t>
            </a:r>
            <a:r>
              <a:rPr lang="ru-RU" sz="14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Calibri" panose="020F0502020204030204" pitchFamily="34" charset="0"/>
              </a:rPr>
              <a:t>локомотивов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FAE6E0B7-A029-4751-98ED-89C23F627DE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065" y="51110"/>
            <a:ext cx="2303625" cy="409533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="" xmlns:a16="http://schemas.microsoft.com/office/drawing/2014/main" id="{0B99050C-BDC3-4ACE-8D7F-93D869A7B77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7271" y="2451402"/>
            <a:ext cx="1357625" cy="878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246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0" y="1552575"/>
            <a:ext cx="4295775" cy="3540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111125" y="1676400"/>
            <a:ext cx="1020763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138113" y="1651000"/>
            <a:ext cx="0" cy="788988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rot="10800000">
            <a:off x="3190875" y="4927600"/>
            <a:ext cx="1019175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rot="10800000">
            <a:off x="4189413" y="4171950"/>
            <a:ext cx="0" cy="790575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141" name="Picture 3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527800"/>
            <a:ext cx="11430000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42" name="TextBox 39"/>
          <p:cNvSpPr txBox="1">
            <a:spLocks noChangeArrowheads="1"/>
          </p:cNvSpPr>
          <p:nvPr/>
        </p:nvSpPr>
        <p:spPr bwMode="auto">
          <a:xfrm>
            <a:off x="128588" y="2989263"/>
            <a:ext cx="5157787" cy="65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ts val="4000"/>
              </a:lnSpc>
            </a:pPr>
            <a:r>
              <a:rPr lang="ru-RU" altLang="lt-LT" sz="48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rPr>
              <a:t>ПРИОРИТЕТЫ</a:t>
            </a:r>
            <a:endParaRPr lang="en-US" altLang="lt-LT" sz="48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Source Sans Pro" panose="020B0503030403020204" pitchFamily="34" charset="0"/>
            </a:endParaRPr>
          </a:p>
        </p:txBody>
      </p:sp>
      <p:sp>
        <p:nvSpPr>
          <p:cNvPr id="48143" name="Rectangle 1"/>
          <p:cNvSpPr>
            <a:spLocks noChangeArrowheads="1"/>
          </p:cNvSpPr>
          <p:nvPr/>
        </p:nvSpPr>
        <p:spPr bwMode="auto">
          <a:xfrm>
            <a:off x="6989853" y="1345520"/>
            <a:ext cx="5212465" cy="4439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indent="-457200">
              <a:lnSpc>
                <a:spcPts val="2500"/>
              </a:lnSpc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ru-RU" alt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rPr>
              <a:t>Обновление подвижного состава</a:t>
            </a:r>
          </a:p>
          <a:p>
            <a:pPr marL="457200" indent="-457200">
              <a:lnSpc>
                <a:spcPts val="2500"/>
              </a:lnSpc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Внедрение </a:t>
            </a:r>
            <a:r>
              <a:rPr lang="ru-RU" sz="2000" dirty="0" smtClean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инноваций</a:t>
            </a:r>
          </a:p>
          <a:p>
            <a:pPr marL="457200" indent="-457200">
              <a:lnSpc>
                <a:spcPts val="2500"/>
              </a:lnSpc>
              <a:spcBef>
                <a:spcPts val="3000"/>
              </a:spcBef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Подвижной состав 1435 мм,</a:t>
            </a:r>
            <a: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электровозы</a:t>
            </a:r>
            <a: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/>
            </a:r>
            <a:b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endParaRPr lang="en-US" altLang="lt-LT" sz="9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Source Sans Pro" panose="020B0503030403020204" pitchFamily="34" charset="0"/>
            </a:endParaRPr>
          </a:p>
          <a:p>
            <a:pPr marL="457200" indent="-45720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Долгосрочные отношения с клиентами</a:t>
            </a:r>
            <a: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/>
            </a:r>
            <a:b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endParaRPr lang="ru-RU" sz="20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457200" indent="-457200">
              <a:lnSpc>
                <a:spcPts val="2600"/>
              </a:lnSpc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Создание новых продуктов</a:t>
            </a:r>
            <a: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и услуг</a:t>
            </a:r>
            <a: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/>
            </a:r>
            <a:b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endParaRPr lang="en-US" altLang="lt-LT" sz="20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Source Sans Pro" panose="020B0503030403020204" pitchFamily="34" charset="0"/>
            </a:endParaRPr>
          </a:p>
          <a:p>
            <a:pPr>
              <a:lnSpc>
                <a:spcPts val="2600"/>
              </a:lnSpc>
            </a:pPr>
            <a: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/>
            </a:r>
            <a:br>
              <a:rPr lang="lt-LT" sz="2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</a:br>
            <a:endParaRPr lang="lt-LT" sz="20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860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0" y="235238"/>
            <a:ext cx="12192000" cy="760154"/>
          </a:xfrm>
        </p:spPr>
        <p:txBody>
          <a:bodyPr/>
          <a:lstStyle/>
          <a:p>
            <a:pPr marL="625475" algn="l">
              <a:tabLst>
                <a:tab pos="625475" algn="l"/>
                <a:tab pos="2063750" algn="l"/>
              </a:tabLst>
            </a:pPr>
            <a:r>
              <a:rPr lang="ru-RU" sz="4400" dirty="0"/>
              <a:t>УСЛУГИ</a:t>
            </a:r>
            <a:endParaRPr lang="lt-LT" sz="4400" dirty="0"/>
          </a:p>
        </p:txBody>
      </p:sp>
      <p:sp>
        <p:nvSpPr>
          <p:cNvPr id="5" name="Rectangle 4"/>
          <p:cNvSpPr/>
          <p:nvPr/>
        </p:nvSpPr>
        <p:spPr>
          <a:xfrm>
            <a:off x="695326" y="1874142"/>
            <a:ext cx="2493353" cy="1797538"/>
          </a:xfrm>
          <a:prstGeom prst="rect">
            <a:avLst/>
          </a:prstGeom>
          <a:solidFill>
            <a:srgbClr val="0471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6" name="Rectangle 5"/>
          <p:cNvSpPr/>
          <p:nvPr/>
        </p:nvSpPr>
        <p:spPr>
          <a:xfrm>
            <a:off x="695325" y="4320357"/>
            <a:ext cx="2493354" cy="1953846"/>
          </a:xfrm>
          <a:prstGeom prst="rect">
            <a:avLst/>
          </a:prstGeom>
          <a:solidFill>
            <a:srgbClr val="149E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7" name="Rectangle 6"/>
          <p:cNvSpPr/>
          <p:nvPr/>
        </p:nvSpPr>
        <p:spPr>
          <a:xfrm>
            <a:off x="3340206" y="1869543"/>
            <a:ext cx="2493352" cy="1797538"/>
          </a:xfrm>
          <a:prstGeom prst="rect">
            <a:avLst/>
          </a:prstGeom>
          <a:solidFill>
            <a:srgbClr val="0471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5" name="Rectangle 14"/>
          <p:cNvSpPr/>
          <p:nvPr/>
        </p:nvSpPr>
        <p:spPr>
          <a:xfrm>
            <a:off x="844881" y="2202339"/>
            <a:ext cx="2325821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ЖЕЛЕЗНОДОРОЖНЫЕ ГРУЗОПЕРЕВОЗКИ 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340204" y="4320357"/>
            <a:ext cx="2493354" cy="1953846"/>
          </a:xfrm>
          <a:prstGeom prst="rect">
            <a:avLst/>
          </a:prstGeom>
          <a:solidFill>
            <a:srgbClr val="149E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7" name="Rectangle 16"/>
          <p:cNvSpPr/>
          <p:nvPr/>
        </p:nvSpPr>
        <p:spPr>
          <a:xfrm>
            <a:off x="5985959" y="1864617"/>
            <a:ext cx="2493353" cy="1797538"/>
          </a:xfrm>
          <a:prstGeom prst="rect">
            <a:avLst/>
          </a:prstGeom>
          <a:solidFill>
            <a:srgbClr val="0471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8" name="Rectangle 17"/>
          <p:cNvSpPr/>
          <p:nvPr/>
        </p:nvSpPr>
        <p:spPr>
          <a:xfrm>
            <a:off x="5985958" y="4320357"/>
            <a:ext cx="2493354" cy="1953846"/>
          </a:xfrm>
          <a:prstGeom prst="rect">
            <a:avLst/>
          </a:prstGeom>
          <a:solidFill>
            <a:srgbClr val="149E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9" name="Rectangle 18"/>
          <p:cNvSpPr/>
          <p:nvPr/>
        </p:nvSpPr>
        <p:spPr>
          <a:xfrm>
            <a:off x="8630839" y="1860018"/>
            <a:ext cx="2493352" cy="1797538"/>
          </a:xfrm>
          <a:prstGeom prst="rect">
            <a:avLst/>
          </a:prstGeom>
          <a:solidFill>
            <a:srgbClr val="0471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0" name="Rectangle 19"/>
          <p:cNvSpPr/>
          <p:nvPr/>
        </p:nvSpPr>
        <p:spPr>
          <a:xfrm>
            <a:off x="8630837" y="4320357"/>
            <a:ext cx="2493354" cy="1953846"/>
          </a:xfrm>
          <a:prstGeom prst="rect">
            <a:avLst/>
          </a:prstGeom>
          <a:solidFill>
            <a:srgbClr val="149E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1" name="Oval 20"/>
          <p:cNvSpPr/>
          <p:nvPr/>
        </p:nvSpPr>
        <p:spPr>
          <a:xfrm>
            <a:off x="1510617" y="3963608"/>
            <a:ext cx="861894" cy="861894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2" name="Oval 21"/>
          <p:cNvSpPr/>
          <p:nvPr/>
        </p:nvSpPr>
        <p:spPr>
          <a:xfrm>
            <a:off x="4155934" y="3963608"/>
            <a:ext cx="861894" cy="861894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3" name="Oval 22"/>
          <p:cNvSpPr/>
          <p:nvPr/>
        </p:nvSpPr>
        <p:spPr>
          <a:xfrm>
            <a:off x="6815364" y="3963608"/>
            <a:ext cx="861894" cy="861894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4" name="Oval 23"/>
          <p:cNvSpPr/>
          <p:nvPr/>
        </p:nvSpPr>
        <p:spPr>
          <a:xfrm>
            <a:off x="9446567" y="3963608"/>
            <a:ext cx="861894" cy="861894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5" name="Oval 24"/>
          <p:cNvSpPr/>
          <p:nvPr/>
        </p:nvSpPr>
        <p:spPr>
          <a:xfrm>
            <a:off x="1510617" y="1315798"/>
            <a:ext cx="861894" cy="861894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6" name="Oval 25"/>
          <p:cNvSpPr/>
          <p:nvPr/>
        </p:nvSpPr>
        <p:spPr>
          <a:xfrm>
            <a:off x="4155934" y="1314266"/>
            <a:ext cx="861894" cy="861894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7" name="Oval 26"/>
          <p:cNvSpPr/>
          <p:nvPr/>
        </p:nvSpPr>
        <p:spPr>
          <a:xfrm>
            <a:off x="6815364" y="1314266"/>
            <a:ext cx="861894" cy="861894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8" name="Oval 27"/>
          <p:cNvSpPr/>
          <p:nvPr/>
        </p:nvSpPr>
        <p:spPr>
          <a:xfrm>
            <a:off x="9446567" y="1316773"/>
            <a:ext cx="861894" cy="861894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cxnSp>
        <p:nvCxnSpPr>
          <p:cNvPr id="30" name="Straight Connector 29"/>
          <p:cNvCxnSpPr/>
          <p:nvPr/>
        </p:nvCxnSpPr>
        <p:spPr>
          <a:xfrm>
            <a:off x="1055915" y="2651087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2670" y="1579500"/>
            <a:ext cx="786002" cy="329972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706644" y="2756610"/>
            <a:ext cx="249247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Перевозка грузов любого типа: cыпучие,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жидкие, негабаритные, опасные, требующие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контроля температурного режима и другие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2984" y="1539545"/>
            <a:ext cx="431340" cy="43134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3340206" y="2207242"/>
            <a:ext cx="2493352" cy="453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МУЛЬТИМОДАЛЬНЫЕ </a:t>
            </a:r>
            <a:endParaRPr lang="en-US" sz="14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ГРУЗОПЕРЕВОЗКИ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3665765" y="2657729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3308866" y="2754799"/>
            <a:ext cx="24733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Экспедирование грузов железнодорожным, морским, автомобильным и воздушным транспортом по территории Европы</a:t>
            </a:r>
            <a:r>
              <a:rPr lang="lt-LT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, </a:t>
            </a:r>
            <a:r>
              <a:rPr lang="en-US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                  </a:t>
            </a:r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стран СНГ и Азии</a:t>
            </a:r>
            <a:endParaRPr lang="lt-LT" sz="9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004565" y="2207018"/>
            <a:ext cx="2523447" cy="4532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УСЛУГИ ИНТЕРМОДАЛЬНЫХ </a:t>
            </a:r>
            <a:endParaRPr lang="lt-LT" sz="14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ТЕРМИНАЛОВ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6351815" y="2654846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2300" y="1521206"/>
            <a:ext cx="552011" cy="436474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5985085" y="2754799"/>
            <a:ext cx="2494227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Полный набор услуг по перезагрузке, хранению, обслуживанию и таможенному оформлению контейнеров разного типа</a:t>
            </a:r>
            <a:endParaRPr lang="lt-LT" sz="9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8891302" y="2196918"/>
            <a:ext cx="2063385" cy="4532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ПОГРУЗКА-РАЗГРУЗКА </a:t>
            </a:r>
            <a:endParaRPr lang="lt-LT" sz="14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И СКЛАДИРОВАНИЕ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9037343" y="2655722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35794" y="1351648"/>
            <a:ext cx="302490" cy="607244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706644" y="5398049"/>
            <a:ext cx="2481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Аренда подвижного состава на местном</a:t>
            </a:r>
            <a:r>
              <a:rPr lang="lt-LT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                    </a:t>
            </a:r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и международных</a:t>
            </a:r>
            <a:r>
              <a:rPr lang="lt-LT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направлениях,  </a:t>
            </a:r>
            <a:r>
              <a:rPr lang="en-US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</a:t>
            </a:r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согласование </a:t>
            </a:r>
            <a:endParaRPr lang="lt-LT" sz="9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курсируемых маршрутов</a:t>
            </a:r>
            <a:endParaRPr lang="lt-LT" sz="9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95325" y="4834520"/>
            <a:ext cx="2503797" cy="453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АРЕНДА ВАГОНОВ </a:t>
            </a:r>
            <a:r>
              <a:rPr lang="lt-LT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                                 </a:t>
            </a: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И КОНТЕЙНЕРОВ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1055915" y="5318966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3350648" y="4844045"/>
            <a:ext cx="2482910" cy="453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РЕМОНТ</a:t>
            </a:r>
            <a:endParaRPr lang="lt-LT" sz="14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algn="ctr"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ВАГОНОВ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>
            <a:off x="3665765" y="5316962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6351815" y="5316962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9037343" y="5316962"/>
            <a:ext cx="1771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3328839" y="5398049"/>
            <a:ext cx="249422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Техническое обслуживание, текущий </a:t>
            </a:r>
            <a:r>
              <a:rPr lang="lt-LT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                           </a:t>
            </a:r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и капитальный ремонт железнодорожного подвижного состава</a:t>
            </a:r>
            <a:endParaRPr lang="lt-LT" sz="9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638844" y="4844045"/>
            <a:ext cx="1404552" cy="4532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ТАМОЖЕННОЕ </a:t>
            </a:r>
            <a:endParaRPr lang="lt-LT" sz="1400" b="1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>
              <a:lnSpc>
                <a:spcPts val="1400"/>
              </a:lnSpc>
            </a:pP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ОФОРМЛЕНИЕ 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181725" y="5399727"/>
            <a:ext cx="20955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Оформление таможенных документов груза при пересечении границ в течение 30 минут</a:t>
            </a:r>
            <a:endParaRPr lang="lt-LT" sz="9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9232741" y="4850723"/>
            <a:ext cx="13805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“</a:t>
            </a:r>
            <a:r>
              <a:rPr lang="en-US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</a:t>
            </a: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-</a:t>
            </a:r>
            <a:r>
              <a:rPr lang="en-US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ROVINYS</a:t>
            </a:r>
            <a:r>
              <a:rPr lang="ru-RU" sz="1400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”</a:t>
            </a:r>
            <a:endParaRPr lang="lt-LT" sz="14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8630839" y="5393284"/>
            <a:ext cx="24933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Система электронного оформления сопроводительных документов</a:t>
            </a:r>
            <a:r>
              <a:rPr lang="lt-LT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                  </a:t>
            </a:r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перевозки груза</a:t>
            </a:r>
            <a:endParaRPr lang="lt-LT" sz="9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8620395" y="2767291"/>
            <a:ext cx="24933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Услуги складирования и хранения грузов на стандартных и таможенных складах</a:t>
            </a:r>
            <a:r>
              <a:rPr lang="lt-LT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.</a:t>
            </a:r>
            <a:r>
              <a:rPr lang="ru-RU" sz="9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Площадь погрузочно-разгрузочных площадок составляет более 200 тыс. м</a:t>
            </a:r>
            <a:r>
              <a:rPr lang="lt-LT" sz="900" baseline="300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2</a:t>
            </a: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3731" y="4068874"/>
            <a:ext cx="534518" cy="568845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4051" y="4136092"/>
            <a:ext cx="511502" cy="515729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2957" y="4054928"/>
            <a:ext cx="502304" cy="619865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3340" y="4069861"/>
            <a:ext cx="587463" cy="592755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644" y="955220"/>
            <a:ext cx="2684711" cy="74735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15" y="6518874"/>
            <a:ext cx="11430000" cy="341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85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3881" y="-14514"/>
            <a:ext cx="12206514" cy="6872514"/>
          </a:xfrm>
          <a:prstGeom prst="rect">
            <a:avLst/>
          </a:prstGeom>
          <a:solidFill>
            <a:srgbClr val="0070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grpSp>
        <p:nvGrpSpPr>
          <p:cNvPr id="12" name="Group 11"/>
          <p:cNvGrpSpPr/>
          <p:nvPr/>
        </p:nvGrpSpPr>
        <p:grpSpPr>
          <a:xfrm>
            <a:off x="3591763" y="4885871"/>
            <a:ext cx="8112557" cy="1019484"/>
            <a:chOff x="3527961" y="5152571"/>
            <a:chExt cx="8112557" cy="1019484"/>
          </a:xfrm>
        </p:grpSpPr>
        <p:sp>
          <p:nvSpPr>
            <p:cNvPr id="5" name="Rectangle 4"/>
            <p:cNvSpPr/>
            <p:nvPr/>
          </p:nvSpPr>
          <p:spPr>
            <a:xfrm>
              <a:off x="3527961" y="5289377"/>
              <a:ext cx="8112557" cy="8826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07000"/>
                </a:lnSpc>
                <a:spcAft>
                  <a:spcPts val="800"/>
                </a:spcAft>
                <a:buSzPts val="1600"/>
              </a:pPr>
              <a:r>
                <a:rPr lang="lt-LT" sz="4800" b="1" dirty="0" smtClean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LG </a:t>
              </a:r>
              <a:r>
                <a:rPr lang="ru-RU" sz="4800" b="1" dirty="0" smtClean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ПОДВИЖНОЙ </a:t>
              </a:r>
              <a:r>
                <a:rPr lang="ru-RU" sz="4800" b="1" dirty="0">
                  <a:solidFill>
                    <a:schemeClr val="bg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  <a:cs typeface="Times New Roman" panose="02020603050405020304" pitchFamily="18" charset="0"/>
                </a:rPr>
                <a:t>СОСТАВ</a:t>
              </a:r>
              <a:endParaRPr lang="lt-LT" sz="4800" dirty="0">
                <a:solidFill>
                  <a:schemeClr val="bg1"/>
                </a:solidFill>
                <a:effectLst/>
                <a:latin typeface="Source Sans Pro" panose="020B0503030403020204" pitchFamily="34" charset="0"/>
                <a:ea typeface="Source Sans Pro" panose="020B050303040302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5224478" y="5152571"/>
              <a:ext cx="612648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526" y="-19050"/>
            <a:ext cx="7764385" cy="6877050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5288280" y="5973935"/>
            <a:ext cx="61264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7952BC7A-5CA6-4B93-8968-491102F91BF0}"/>
              </a:ext>
            </a:extLst>
          </p:cNvPr>
          <p:cNvSpPr txBox="1"/>
          <p:nvPr/>
        </p:nvSpPr>
        <p:spPr>
          <a:xfrm>
            <a:off x="9584142" y="75501"/>
            <a:ext cx="26078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A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О</a:t>
            </a:r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 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«</a:t>
            </a:r>
            <a:r>
              <a:rPr lang="lt-LT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LG CARGO</a:t>
            </a:r>
            <a:r>
              <a:rPr lang="ru-RU" sz="1200" b="1" i="1" dirty="0">
                <a:solidFill>
                  <a:schemeClr val="bg1"/>
                </a:solidFill>
                <a:latin typeface="Proxima Nova"/>
                <a:ea typeface="Source Sans Pro Light" panose="020B0403030403020204" pitchFamily="34" charset="0"/>
              </a:rPr>
              <a:t>»</a:t>
            </a:r>
            <a:endParaRPr lang="lt-LT" sz="12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  <a:p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Часть группы «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Литовски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железны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х</a:t>
            </a:r>
            <a:r>
              <a:rPr lang="lt-LT" sz="800" b="1" i="1" dirty="0">
                <a:solidFill>
                  <a:schemeClr val="bg1"/>
                </a:solidFill>
                <a:latin typeface="Proxima Nova"/>
              </a:rPr>
              <a:t> дорог</a:t>
            </a:r>
            <a:r>
              <a:rPr lang="ru-RU" sz="800" b="1" i="1" dirty="0">
                <a:solidFill>
                  <a:schemeClr val="bg1"/>
                </a:solidFill>
                <a:latin typeface="Proxima Nova"/>
              </a:rPr>
              <a:t>»</a:t>
            </a:r>
            <a:endParaRPr lang="lt-LT" sz="800" b="1" i="1" dirty="0">
              <a:solidFill>
                <a:schemeClr val="bg1"/>
              </a:solidFill>
              <a:latin typeface="Proxima Nova"/>
              <a:ea typeface="Source Sans Pro Light" panose="020B04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74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4553" y="391317"/>
            <a:ext cx="4881822" cy="1325563"/>
          </a:xfrm>
        </p:spPr>
        <p:txBody>
          <a:bodyPr>
            <a:noAutofit/>
          </a:bodyPr>
          <a:lstStyle/>
          <a:p>
            <a:pPr algn="r"/>
            <a:r>
              <a:rPr lang="ru-RU" sz="4800" b="1" dirty="0">
                <a:solidFill>
                  <a:srgbClr val="0070B6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ПАРК ВАГОНОВ</a:t>
            </a:r>
            <a:endParaRPr lang="lt-LT" sz="4800" b="1" dirty="0">
              <a:solidFill>
                <a:srgbClr val="0070B6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756994" y="1457460"/>
            <a:ext cx="851912" cy="3887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ctr"/>
            <a:r>
              <a:rPr lang="lt-LT" sz="1600" b="1" dirty="0">
                <a:solidFill>
                  <a:srgbClr val="7DBF4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1.225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787474" y="1738006"/>
            <a:ext cx="874639" cy="498206"/>
          </a:xfrm>
        </p:spPr>
        <p:txBody>
          <a:bodyPr>
            <a:noAutofit/>
          </a:bodyPr>
          <a:lstStyle/>
          <a:p>
            <a:pPr marL="0" lv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1200" b="1" dirty="0">
                <a:solidFill>
                  <a:srgbClr val="7DBF4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КРЫТЫЕ</a:t>
            </a:r>
            <a:endParaRPr lang="lt-LT" sz="1200" b="1" dirty="0">
              <a:solidFill>
                <a:srgbClr val="7DBF4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3855500" y="4016761"/>
            <a:ext cx="2670499" cy="810168"/>
            <a:chOff x="3475431" y="1726694"/>
            <a:chExt cx="1954712" cy="810168"/>
          </a:xfrm>
        </p:grpSpPr>
        <p:sp>
          <p:nvSpPr>
            <p:cNvPr id="10" name="Title 1"/>
            <p:cNvSpPr txBox="1">
              <a:spLocks/>
            </p:cNvSpPr>
            <p:nvPr/>
          </p:nvSpPr>
          <p:spPr>
            <a:xfrm>
              <a:off x="4101023" y="1726694"/>
              <a:ext cx="703526" cy="34773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r>
                <a:rPr lang="lt-LT" sz="16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216</a:t>
              </a:r>
            </a:p>
          </p:txBody>
        </p:sp>
        <p:sp>
          <p:nvSpPr>
            <p:cNvPr id="11" name="Content Placeholder 2"/>
            <p:cNvSpPr txBox="1">
              <a:spLocks/>
            </p:cNvSpPr>
            <p:nvPr/>
          </p:nvSpPr>
          <p:spPr>
            <a:xfrm>
              <a:off x="3475431" y="2038656"/>
              <a:ext cx="1954712" cy="49820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УНИВЕРСАЛЬНЫЕ </a:t>
              </a:r>
              <a:r>
                <a:rPr lang="lt-LT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ПЛ</a:t>
              </a: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АТФОРМЫ</a:t>
              </a:r>
              <a:endParaRPr lang="lt-LT" sz="1200" b="1" dirty="0">
                <a:solidFill>
                  <a:srgbClr val="7DBF4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8869522" y="1372987"/>
            <a:ext cx="1225097" cy="792447"/>
            <a:chOff x="5931509" y="1816322"/>
            <a:chExt cx="1225097" cy="792447"/>
          </a:xfrm>
        </p:grpSpPr>
        <p:sp>
          <p:nvSpPr>
            <p:cNvPr id="12" name="Title 1"/>
            <p:cNvSpPr txBox="1">
              <a:spLocks/>
            </p:cNvSpPr>
            <p:nvPr/>
          </p:nvSpPr>
          <p:spPr>
            <a:xfrm>
              <a:off x="6065677" y="1816322"/>
              <a:ext cx="956761" cy="38873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r>
                <a:rPr lang="lt-LT" sz="16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1.452</a:t>
              </a:r>
            </a:p>
          </p:txBody>
        </p:sp>
        <p:sp>
          <p:nvSpPr>
            <p:cNvPr id="14" name="Content Placeholder 2"/>
            <p:cNvSpPr txBox="1">
              <a:spLocks/>
            </p:cNvSpPr>
            <p:nvPr/>
          </p:nvSpPr>
          <p:spPr>
            <a:xfrm>
              <a:off x="5931509" y="2110563"/>
              <a:ext cx="1225097" cy="49820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20000"/>
                </a:lnSpc>
                <a:spcBef>
                  <a:spcPts val="0"/>
                </a:spcBef>
                <a:buNone/>
              </a:pPr>
              <a:r>
                <a:rPr lang="lt-LT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ПОЛУВ</a:t>
              </a: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А</a:t>
              </a:r>
              <a:r>
                <a:rPr lang="lt-LT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ГOНЫ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8459643" y="2579806"/>
            <a:ext cx="2044853" cy="867769"/>
            <a:chOff x="833023" y="3213077"/>
            <a:chExt cx="2044853" cy="867769"/>
          </a:xfrm>
        </p:grpSpPr>
        <p:sp>
          <p:nvSpPr>
            <p:cNvPr id="20" name="Title 1"/>
            <p:cNvSpPr txBox="1">
              <a:spLocks/>
            </p:cNvSpPr>
            <p:nvPr/>
          </p:nvSpPr>
          <p:spPr>
            <a:xfrm>
              <a:off x="1503686" y="3213077"/>
              <a:ext cx="703526" cy="36310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r>
                <a:rPr lang="lt-LT" sz="16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111</a:t>
              </a:r>
            </a:p>
          </p:txBody>
        </p:sp>
        <p:sp>
          <p:nvSpPr>
            <p:cNvPr id="21" name="Content Placeholder 2"/>
            <p:cNvSpPr txBox="1">
              <a:spLocks/>
            </p:cNvSpPr>
            <p:nvPr/>
          </p:nvSpPr>
          <p:spPr>
            <a:xfrm>
              <a:off x="833023" y="3505837"/>
              <a:ext cx="2044853" cy="575009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20000"/>
                </a:lnSpc>
                <a:spcBef>
                  <a:spcPts val="0"/>
                </a:spcBef>
                <a:buNone/>
              </a:pP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Р</a:t>
              </a:r>
              <a:r>
                <a:rPr lang="lt-LT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EФРEЖEРAТОРНЫE</a:t>
              </a:r>
            </a:p>
            <a:p>
              <a:pPr marL="0" indent="0" algn="ctr">
                <a:lnSpc>
                  <a:spcPct val="120000"/>
                </a:lnSpc>
                <a:spcBef>
                  <a:spcPts val="0"/>
                </a:spcBef>
                <a:buNone/>
              </a:pPr>
              <a:r>
                <a:rPr lang="ru-RU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включая</a:t>
              </a:r>
              <a:r>
                <a:rPr lang="lt-LT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изотермически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003072" y="5125324"/>
            <a:ext cx="2375360" cy="1537954"/>
            <a:chOff x="4353382" y="5290237"/>
            <a:chExt cx="2375360" cy="1537954"/>
          </a:xfrm>
        </p:grpSpPr>
        <p:sp>
          <p:nvSpPr>
            <p:cNvPr id="30" name="Title 1"/>
            <p:cNvSpPr txBox="1">
              <a:spLocks/>
            </p:cNvSpPr>
            <p:nvPr/>
          </p:nvSpPr>
          <p:spPr>
            <a:xfrm>
              <a:off x="5134195" y="5290237"/>
              <a:ext cx="813734" cy="317687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r>
                <a:rPr lang="lt-LT" sz="16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38</a:t>
              </a:r>
            </a:p>
          </p:txBody>
        </p:sp>
        <p:sp>
          <p:nvSpPr>
            <p:cNvPr id="31" name="Content Placeholder 2"/>
            <p:cNvSpPr txBox="1">
              <a:spLocks/>
            </p:cNvSpPr>
            <p:nvPr/>
          </p:nvSpPr>
          <p:spPr>
            <a:xfrm>
              <a:off x="4353382" y="5612195"/>
              <a:ext cx="2375360" cy="121599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fontAlgn="b">
                <a:buNone/>
              </a:pP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ДРУГИЕ ВАГОНЫ</a:t>
              </a:r>
              <a:r>
                <a:rPr lang="lt-LT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/>
              </a:r>
              <a:br>
                <a:rPr lang="lt-LT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</a:br>
              <a:r>
                <a:rPr lang="ru-RU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покрытые переделаны из ARV, вагоны для перевозки автомобилей,</a:t>
              </a:r>
              <a:r>
                <a:rPr lang="lt-LT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</a:t>
              </a:r>
              <a:r>
                <a:rPr lang="ru-RU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транспортерные вагоны с низкой загрузкой и другие</a:t>
              </a:r>
              <a:endParaRPr lang="lt-LT" sz="1200" dirty="0">
                <a:solidFill>
                  <a:srgbClr val="7DBF4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  <a:p>
              <a:pPr marL="0" indent="0" algn="ctr">
                <a:lnSpc>
                  <a:spcPct val="100000"/>
                </a:lnSpc>
                <a:buNone/>
              </a:pPr>
              <a:r>
                <a:rPr lang="lt-LT" sz="1600" dirty="0">
                  <a:noFill/>
                  <a:latin typeface="Source Sans Pro" panose="020B0503030403020204" pitchFamily="34" charset="0"/>
                  <a:ea typeface="Source Sans Pro" panose="020B0503030403020204" pitchFamily="34" charset="0"/>
                </a:rPr>
                <a:t>ngumas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8933637" y="4176414"/>
            <a:ext cx="1096865" cy="621651"/>
            <a:chOff x="6865990" y="3628237"/>
            <a:chExt cx="1096865" cy="701972"/>
          </a:xfrm>
        </p:grpSpPr>
        <p:sp>
          <p:nvSpPr>
            <p:cNvPr id="25" name="Title 1"/>
            <p:cNvSpPr txBox="1">
              <a:spLocks/>
            </p:cNvSpPr>
            <p:nvPr/>
          </p:nvSpPr>
          <p:spPr>
            <a:xfrm>
              <a:off x="7062658" y="3628237"/>
              <a:ext cx="774475" cy="38873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r>
                <a:rPr lang="lt-LT" sz="16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1.875</a:t>
              </a:r>
            </a:p>
          </p:txBody>
        </p:sp>
        <p:sp>
          <p:nvSpPr>
            <p:cNvPr id="26" name="Content Placeholder 2"/>
            <p:cNvSpPr txBox="1">
              <a:spLocks/>
            </p:cNvSpPr>
            <p:nvPr/>
          </p:nvSpPr>
          <p:spPr>
            <a:xfrm>
              <a:off x="6865990" y="3976115"/>
              <a:ext cx="1096865" cy="35409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ХОППЕРЫ</a:t>
              </a:r>
              <a:endParaRPr lang="lt-LT" sz="1200" b="1" dirty="0">
                <a:solidFill>
                  <a:srgbClr val="7DBF4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100460" y="2579806"/>
            <a:ext cx="2180581" cy="818885"/>
            <a:chOff x="853899" y="5241170"/>
            <a:chExt cx="2180581" cy="818885"/>
          </a:xfrm>
        </p:grpSpPr>
        <p:sp>
          <p:nvSpPr>
            <p:cNvPr id="35" name="Title 1"/>
            <p:cNvSpPr txBox="1">
              <a:spLocks/>
            </p:cNvSpPr>
            <p:nvPr/>
          </p:nvSpPr>
          <p:spPr>
            <a:xfrm>
              <a:off x="1496452" y="5241170"/>
              <a:ext cx="895474" cy="38873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r>
                <a:rPr lang="lt-LT" sz="16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1.240</a:t>
              </a:r>
            </a:p>
          </p:txBody>
        </p:sp>
        <p:sp>
          <p:nvSpPr>
            <p:cNvPr id="36" name="Content Placeholder 2"/>
            <p:cNvSpPr txBox="1">
              <a:spLocks/>
            </p:cNvSpPr>
            <p:nvPr/>
          </p:nvSpPr>
          <p:spPr>
            <a:xfrm>
              <a:off x="853899" y="5618053"/>
              <a:ext cx="2180581" cy="442002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fontAlgn="ctr">
                <a:buNone/>
              </a:pP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ФИТИНГОВЫЕ </a:t>
              </a:r>
              <a:r>
                <a:rPr lang="lt-LT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П</a:t>
              </a: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ЛАТФОРМЫ</a:t>
              </a:r>
              <a:r>
                <a:rPr lang="en-US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/>
              </a:r>
              <a:br>
                <a:rPr lang="en-US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</a:br>
              <a:r>
                <a:rPr lang="ru-RU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для контейнерных перевозок</a:t>
              </a:r>
              <a:endParaRPr lang="lt-LT" sz="1200" dirty="0">
                <a:solidFill>
                  <a:srgbClr val="7DBF4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8933636" y="5438302"/>
            <a:ext cx="1307643" cy="797735"/>
            <a:chOff x="8291145" y="3396283"/>
            <a:chExt cx="1085634" cy="797735"/>
          </a:xfrm>
        </p:grpSpPr>
        <p:sp>
          <p:nvSpPr>
            <p:cNvPr id="16" name="Title 1"/>
            <p:cNvSpPr txBox="1">
              <a:spLocks/>
            </p:cNvSpPr>
            <p:nvPr/>
          </p:nvSpPr>
          <p:spPr>
            <a:xfrm>
              <a:off x="8338409" y="3396283"/>
              <a:ext cx="991105" cy="38873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ctr"/>
              <a:r>
                <a:rPr lang="lt-LT" sz="16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1.739</a:t>
              </a:r>
            </a:p>
          </p:txBody>
        </p:sp>
        <p:sp>
          <p:nvSpPr>
            <p:cNvPr id="17" name="Content Placeholder 2"/>
            <p:cNvSpPr txBox="1">
              <a:spLocks/>
            </p:cNvSpPr>
            <p:nvPr/>
          </p:nvSpPr>
          <p:spPr>
            <a:xfrm>
              <a:off x="8291145" y="3723765"/>
              <a:ext cx="1085634" cy="47025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lt-LT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ЦИСТЕРНН</a:t>
              </a:r>
              <a:r>
                <a:rPr lang="ru-RU" sz="1200" b="1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Ы</a:t>
              </a:r>
              <a:r>
                <a:rPr lang="lt-LT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/>
              </a:r>
              <a:br>
                <a:rPr lang="lt-LT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</a:br>
              <a:r>
                <a:rPr lang="ru-RU" sz="1200" dirty="0">
                  <a:solidFill>
                    <a:srgbClr val="7DBF41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4 оси, 8 осей</a:t>
              </a:r>
              <a:endParaRPr lang="lt-LT" sz="1200" dirty="0">
                <a:solidFill>
                  <a:srgbClr val="7DBF41"/>
                </a:solidFill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</p:grpSp>
      <p:cxnSp>
        <p:nvCxnSpPr>
          <p:cNvPr id="44" name="Straight Connector 43"/>
          <p:cNvCxnSpPr/>
          <p:nvPr/>
        </p:nvCxnSpPr>
        <p:spPr>
          <a:xfrm>
            <a:off x="615573" y="579913"/>
            <a:ext cx="42675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615573" y="1415444"/>
            <a:ext cx="4263583" cy="153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" descr="C:\Users\User\Desktop\LGKD\Blokai\2. LG vizitinė kortelė\Dengtieji-3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7331" y="1205998"/>
            <a:ext cx="1241527" cy="124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C:\Users\User\Desktop\LGKD\Blokai\2. LG vizitinė kortelė\Pusvagoniai-3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1083" y="1163156"/>
            <a:ext cx="1204372" cy="1204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9" descr="C:\Users\User\Desktop\LGKD\Blokai\2. LG vizitinė kortelė\Fitinginės platformos-94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87874" y="2875167"/>
            <a:ext cx="1482589" cy="400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" descr="C:\Users\User\Desktop\LGKD\Blokai\2. LG vizitinė kortelė\REFRIŽERATORINIAI-78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44939" y="2355319"/>
            <a:ext cx="1193738" cy="1193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3" descr="C:\Users\User\Desktop\LGKD\Blokai\2. LG vizitinė kortelė\Platforminiai-32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6979" y="3801155"/>
            <a:ext cx="1347644" cy="1347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8" descr="C:\Users\User\Desktop\LGKD\Blokai\2. LG vizitinė kortelė\Biraliniai-98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37736" y="4159352"/>
            <a:ext cx="1229597" cy="621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" descr="C:\Users\User\Desktop\LGKD\Blokai\2. LG vizitinė kortelė\KIti-97.pn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95517" y="5609345"/>
            <a:ext cx="1489590" cy="607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" descr="C:\Users\User\Desktop\LGKD\Blokai\2. LG vizitinė kortelė\Cisterniniai-31.pn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46563" y="5562956"/>
            <a:ext cx="1299626" cy="548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Oval 55"/>
          <p:cNvSpPr/>
          <p:nvPr/>
        </p:nvSpPr>
        <p:spPr>
          <a:xfrm>
            <a:off x="-699656" y="3217883"/>
            <a:ext cx="4134317" cy="4134317"/>
          </a:xfrm>
          <a:prstGeom prst="ellipse">
            <a:avLst/>
          </a:prstGeom>
          <a:solidFill>
            <a:srgbClr val="7DB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99CB38"/>
              </a:solidFill>
            </a:endParaRPr>
          </a:p>
        </p:txBody>
      </p:sp>
      <p:sp>
        <p:nvSpPr>
          <p:cNvPr id="57" name="Title 1"/>
          <p:cNvSpPr txBox="1">
            <a:spLocks/>
          </p:cNvSpPr>
          <p:nvPr/>
        </p:nvSpPr>
        <p:spPr>
          <a:xfrm>
            <a:off x="118699" y="4419020"/>
            <a:ext cx="2760196" cy="7774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ctr"/>
            <a:r>
              <a:rPr lang="lt-LT" b="1" dirty="0">
                <a:solidFill>
                  <a:schemeClr val="bg1"/>
                </a:solidFill>
                <a:latin typeface="Source Sans Pro" charset="0"/>
                <a:ea typeface="Source Sans Pro" charset="0"/>
                <a:cs typeface="Source Sans Pro" charset="0"/>
              </a:rPr>
              <a:t>7.896</a:t>
            </a:r>
          </a:p>
        </p:txBody>
      </p:sp>
      <p:sp>
        <p:nvSpPr>
          <p:cNvPr id="58" name="Content Placeholder 2"/>
          <p:cNvSpPr txBox="1">
            <a:spLocks/>
          </p:cNvSpPr>
          <p:nvPr/>
        </p:nvSpPr>
        <p:spPr>
          <a:xfrm>
            <a:off x="415437" y="5084855"/>
            <a:ext cx="2166720" cy="11317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320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ВСЕГО ВАГОНОВ</a:t>
            </a:r>
            <a:endParaRPr lang="lt-LT" sz="18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732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800" u="sng" dirty="0">
                <a:solidFill>
                  <a:srgbClr val="0471B7"/>
                </a:solidFill>
                <a:latin typeface="Source Sans Pro"/>
                <a:ea typeface="Segoe UI" panose="020B0502040204020203" pitchFamily="34" charset="0"/>
                <a:cs typeface="Segoe UI Semilight" panose="020B0402040204020203" pitchFamily="34" charset="0"/>
              </a:rPr>
              <a:t>Динамика</a:t>
            </a:r>
            <a:r>
              <a:rPr lang="ru-RU" sz="3800" u="sng" dirty="0">
                <a:solidFill>
                  <a:srgbClr val="0471B7"/>
                </a:solidFill>
                <a:latin typeface="Source Sans Pro"/>
                <a:cs typeface="Segoe UI Semilight" panose="020B0402040204020203" pitchFamily="34" charset="0"/>
              </a:rPr>
              <a:t> вагонного парка LG к 2030 году</a:t>
            </a:r>
            <a:endParaRPr lang="en-US" sz="3800" u="sng" dirty="0">
              <a:solidFill>
                <a:srgbClr val="0471B7"/>
              </a:solidFill>
              <a:latin typeface="Source Sans Pro"/>
              <a:cs typeface="Segoe UI Semilight" panose="020B0402040204020203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89" y="1371282"/>
            <a:ext cx="11126026" cy="5345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337089" y="1350531"/>
            <a:ext cx="11433068" cy="5404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71B7"/>
                </a:solidFill>
                <a:latin typeface="Source Sans Pro"/>
              </a:rPr>
              <a:t>2030 г. </a:t>
            </a:r>
            <a:r>
              <a:rPr lang="ru-RU" sz="1600" dirty="0" smtClean="0">
                <a:solidFill>
                  <a:srgbClr val="0471B7"/>
                </a:solidFill>
                <a:latin typeface="Source Sans Pro"/>
              </a:rPr>
              <a:t>ПС </a:t>
            </a:r>
            <a:r>
              <a:rPr lang="ru-RU" sz="1600" dirty="0">
                <a:solidFill>
                  <a:srgbClr val="0471B7"/>
                </a:solidFill>
                <a:latin typeface="Source Sans Pro"/>
              </a:rPr>
              <a:t>будет значительно сокращен, особенно вагоны, которые могут курсировать по 1520 мм. колеи (T1520)</a:t>
            </a:r>
            <a:endParaRPr lang="lt-LT" sz="1600" dirty="0">
              <a:solidFill>
                <a:srgbClr val="0471B7"/>
              </a:solidFill>
              <a:latin typeface="Source Sans Pro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37088" y="1951255"/>
            <a:ext cx="3261989" cy="271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471B7"/>
                </a:solidFill>
              </a:rPr>
              <a:t>Типы вагонов по возрасту</a:t>
            </a:r>
            <a:endParaRPr lang="lt-LT" sz="1600" dirty="0">
              <a:solidFill>
                <a:srgbClr val="0471B7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7091" y="2223079"/>
            <a:ext cx="1759759" cy="200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</a:rPr>
              <a:t>Проценты</a:t>
            </a:r>
            <a:r>
              <a:rPr lang="lt-LT" sz="1200" b="1" dirty="0">
                <a:solidFill>
                  <a:schemeClr val="bg1">
                    <a:lumMod val="50000"/>
                  </a:schemeClr>
                </a:solidFill>
              </a:rPr>
              <a:t> (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</a:rPr>
              <a:t>шт.</a:t>
            </a:r>
            <a:r>
              <a:rPr lang="lt-LT" sz="1200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4" name="Rectangle 3"/>
          <p:cNvSpPr/>
          <p:nvPr/>
        </p:nvSpPr>
        <p:spPr>
          <a:xfrm>
            <a:off x="7452606" y="2662684"/>
            <a:ext cx="4402305" cy="312421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400" dirty="0">
                <a:solidFill>
                  <a:schemeClr val="tx1"/>
                </a:solidFill>
              </a:rPr>
              <a:t>LG </a:t>
            </a:r>
            <a:r>
              <a:rPr lang="ru-RU" sz="1400" dirty="0">
                <a:solidFill>
                  <a:schemeClr val="tx1"/>
                </a:solidFill>
              </a:rPr>
              <a:t>вагоны делаться на три основных класса</a:t>
            </a:r>
            <a:r>
              <a:rPr lang="lt-LT" sz="1400" dirty="0">
                <a:solidFill>
                  <a:schemeClr val="tx1"/>
                </a:solidFill>
              </a:rPr>
              <a:t>:</a:t>
            </a:r>
          </a:p>
          <a:p>
            <a:pPr marL="285693" indent="-285693">
              <a:buFontTx/>
              <a:buChar char="-"/>
            </a:pPr>
            <a:r>
              <a:rPr lang="lt-LT" sz="1400" dirty="0">
                <a:solidFill>
                  <a:schemeClr val="accent5">
                    <a:lumMod val="50000"/>
                  </a:schemeClr>
                </a:solidFill>
              </a:rPr>
              <a:t>T1</a:t>
            </a:r>
            <a:r>
              <a:rPr lang="lt-LT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chemeClr val="tx1"/>
                </a:solidFill>
              </a:rPr>
              <a:t>старые вагоны с превышенном эксплуатационным периодам 1,5 года (могут курсировать только в Литве)</a:t>
            </a:r>
          </a:p>
          <a:p>
            <a:pPr marL="285693" indent="-285693">
              <a:buFontTx/>
              <a:buChar char="-"/>
            </a:pPr>
            <a:r>
              <a:rPr lang="lt-LT" sz="1400" dirty="0">
                <a:solidFill>
                  <a:schemeClr val="accent5">
                    <a:lumMod val="50000"/>
                  </a:schemeClr>
                </a:solidFill>
              </a:rPr>
              <a:t>T6</a:t>
            </a:r>
            <a:r>
              <a:rPr lang="lt-LT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chemeClr val="tx1"/>
                </a:solidFill>
              </a:rPr>
              <a:t>вагоны с меньшим эксплуатационным периодам чем 1,5 года.</a:t>
            </a:r>
            <a:r>
              <a:rPr lang="lt-LT" sz="1400" dirty="0">
                <a:solidFill>
                  <a:schemeClr val="tx1"/>
                </a:solidFill>
              </a:rPr>
              <a:t> (</a:t>
            </a:r>
            <a:r>
              <a:rPr lang="ru-RU" sz="1400" dirty="0">
                <a:solidFill>
                  <a:schemeClr val="tx1"/>
                </a:solidFill>
              </a:rPr>
              <a:t>могут курсировать в Литве, Латвий, Эстонии, Белоруссии, Украине, Молдове).</a:t>
            </a:r>
            <a:r>
              <a:rPr lang="lt-LT" sz="1400" dirty="0">
                <a:solidFill>
                  <a:schemeClr val="tx1"/>
                </a:solidFill>
              </a:rPr>
              <a:t> </a:t>
            </a:r>
            <a:endParaRPr lang="ru-RU" sz="1400" dirty="0">
              <a:solidFill>
                <a:schemeClr val="tx1"/>
              </a:solidFill>
            </a:endParaRPr>
          </a:p>
          <a:p>
            <a:pPr marL="285693" indent="-285693">
              <a:buFontTx/>
              <a:buChar char="-"/>
            </a:pPr>
            <a:r>
              <a:rPr lang="lt-LT" sz="1400" dirty="0">
                <a:solidFill>
                  <a:schemeClr val="accent5">
                    <a:lumMod val="50000"/>
                  </a:schemeClr>
                </a:solidFill>
              </a:rPr>
              <a:t>T1520</a:t>
            </a:r>
            <a:r>
              <a:rPr lang="lt-LT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chemeClr val="tx1"/>
                </a:solidFill>
              </a:rPr>
              <a:t>вагоны  с не истекшим сроком службы </a:t>
            </a:r>
            <a:r>
              <a:rPr lang="lt-LT" sz="1400" dirty="0">
                <a:solidFill>
                  <a:schemeClr val="tx1"/>
                </a:solidFill>
              </a:rPr>
              <a:t>(</a:t>
            </a:r>
            <a:r>
              <a:rPr lang="ru-RU" sz="1400" dirty="0">
                <a:solidFill>
                  <a:schemeClr val="tx1"/>
                </a:solidFill>
              </a:rPr>
              <a:t>могут курсировать по 1520 мм. пространстве</a:t>
            </a:r>
            <a:r>
              <a:rPr lang="lt-LT" sz="1400" dirty="0">
                <a:solidFill>
                  <a:schemeClr val="tx1"/>
                </a:solidFill>
              </a:rPr>
              <a:t>)</a:t>
            </a:r>
          </a:p>
          <a:p>
            <a:pPr marL="285693" indent="-285693">
              <a:buFontTx/>
              <a:buChar char="-"/>
            </a:pPr>
            <a:endParaRPr lang="lt-LT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78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9226" y="472132"/>
            <a:ext cx="11454658" cy="526298"/>
          </a:xfrm>
        </p:spPr>
        <p:txBody>
          <a:bodyPr/>
          <a:lstStyle/>
          <a:p>
            <a:r>
              <a:rPr lang="ru-RU" sz="3800" u="sng" dirty="0" smtClean="0">
                <a:solidFill>
                  <a:srgbClr val="0471B7"/>
                </a:solidFill>
                <a:latin typeface="Source Sans Pro"/>
              </a:rPr>
              <a:t>Программа приобретения ПС 2020-2022 г.</a:t>
            </a:r>
            <a:endParaRPr lang="lt-LT" sz="3800" u="sng" dirty="0">
              <a:solidFill>
                <a:srgbClr val="0471B7"/>
              </a:solidFill>
              <a:latin typeface="Source Sans Pro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EAA725-CC0B-4A16-AE77-83A5B67A2992}" type="datetime1">
              <a:rPr lang="en-US" smtClean="0"/>
              <a:t>10/15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16" name="Content Placeholder 1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88470677"/>
              </p:ext>
            </p:extLst>
          </p:nvPr>
        </p:nvGraphicFramePr>
        <p:xfrm>
          <a:off x="334963" y="1616075"/>
          <a:ext cx="7543507" cy="4560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Content Placeholder 5"/>
          <p:cNvSpPr txBox="1">
            <a:spLocks/>
          </p:cNvSpPr>
          <p:nvPr/>
        </p:nvSpPr>
        <p:spPr>
          <a:xfrm>
            <a:off x="8383219" y="1449387"/>
            <a:ext cx="3159220" cy="1798561"/>
          </a:xfrm>
          <a:prstGeom prst="rect">
            <a:avLst/>
          </a:prstGeom>
          <a:solidFill>
            <a:srgbClr val="0471B7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u="sng" dirty="0" smtClean="0">
                <a:solidFill>
                  <a:schemeClr val="bg1"/>
                </a:solidFill>
              </a:rPr>
              <a:t>Планы приобретения на </a:t>
            </a:r>
            <a:r>
              <a:rPr lang="lt-LT" b="1" u="sng" dirty="0" smtClean="0">
                <a:solidFill>
                  <a:schemeClr val="bg1"/>
                </a:solidFill>
              </a:rPr>
              <a:t>20</a:t>
            </a:r>
            <a:r>
              <a:rPr lang="ru-RU" b="1" u="sng" dirty="0" smtClean="0">
                <a:solidFill>
                  <a:schemeClr val="bg1"/>
                </a:solidFill>
              </a:rPr>
              <a:t>20</a:t>
            </a:r>
            <a:r>
              <a:rPr lang="lt-LT" b="1" u="sng" dirty="0" smtClean="0">
                <a:solidFill>
                  <a:schemeClr val="bg1"/>
                </a:solidFill>
              </a:rPr>
              <a:t> </a:t>
            </a:r>
            <a:r>
              <a:rPr lang="ru-RU" b="1" u="sng" dirty="0" smtClean="0">
                <a:solidFill>
                  <a:schemeClr val="bg1"/>
                </a:solidFill>
              </a:rPr>
              <a:t>г</a:t>
            </a:r>
            <a:r>
              <a:rPr lang="lt-LT" b="1" u="sng" dirty="0" smtClean="0">
                <a:solidFill>
                  <a:schemeClr val="bg1"/>
                </a:solidFill>
              </a:rPr>
              <a:t>.:</a:t>
            </a:r>
          </a:p>
          <a:p>
            <a:pPr algn="ctr"/>
            <a:r>
              <a:rPr lang="ru-RU" sz="1200" b="1" dirty="0" smtClean="0">
                <a:solidFill>
                  <a:srgbClr val="99CB38"/>
                </a:solidFill>
              </a:rPr>
              <a:t>Зерновозы</a:t>
            </a:r>
            <a:r>
              <a:rPr lang="lt-LT" sz="1200" b="1" dirty="0" smtClean="0">
                <a:solidFill>
                  <a:srgbClr val="99CB38"/>
                </a:solidFill>
              </a:rPr>
              <a:t> – 25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;</a:t>
            </a:r>
          </a:p>
          <a:p>
            <a:pPr algn="ctr"/>
            <a:r>
              <a:rPr lang="ru-RU" sz="1200" b="1" dirty="0" smtClean="0">
                <a:solidFill>
                  <a:srgbClr val="99CB38"/>
                </a:solidFill>
              </a:rPr>
              <a:t>Полувагоны</a:t>
            </a:r>
            <a:r>
              <a:rPr lang="lt-LT" sz="1200" b="1" dirty="0" smtClean="0">
                <a:solidFill>
                  <a:srgbClr val="99CB38"/>
                </a:solidFill>
              </a:rPr>
              <a:t>– 2</a:t>
            </a:r>
            <a:r>
              <a:rPr lang="ru-RU" sz="1200" b="1" dirty="0" smtClean="0">
                <a:solidFill>
                  <a:srgbClr val="99CB38"/>
                </a:solidFill>
              </a:rPr>
              <a:t>5</a:t>
            </a:r>
            <a:r>
              <a:rPr lang="lt-LT" sz="1200" b="1" dirty="0" smtClean="0">
                <a:solidFill>
                  <a:srgbClr val="99CB38"/>
                </a:solidFill>
              </a:rPr>
              <a:t>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;</a:t>
            </a:r>
            <a:endParaRPr lang="ru-RU" sz="1200" b="1" dirty="0" smtClean="0">
              <a:solidFill>
                <a:srgbClr val="99CB38"/>
              </a:solidFill>
            </a:endParaRPr>
          </a:p>
          <a:p>
            <a:pPr algn="ctr"/>
            <a:r>
              <a:rPr lang="ru-RU" sz="1200" b="1" dirty="0" err="1" smtClean="0">
                <a:solidFill>
                  <a:srgbClr val="99CB38"/>
                </a:solidFill>
              </a:rPr>
              <a:t>Минераловозы</a:t>
            </a:r>
            <a:r>
              <a:rPr lang="ru-RU" sz="1200" b="1" dirty="0" smtClean="0">
                <a:solidFill>
                  <a:srgbClr val="99CB38"/>
                </a:solidFill>
              </a:rPr>
              <a:t> - 30 шт.</a:t>
            </a:r>
            <a:r>
              <a:rPr lang="en-US" sz="1200" b="1" dirty="0" smtClean="0">
                <a:solidFill>
                  <a:srgbClr val="99CB38"/>
                </a:solidFill>
              </a:rPr>
              <a:t>;</a:t>
            </a:r>
            <a:endParaRPr lang="lt-LT" sz="1200" b="1" dirty="0" smtClean="0">
              <a:solidFill>
                <a:srgbClr val="99CB38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99CB38"/>
                </a:solidFill>
              </a:rPr>
              <a:t>Платформы </a:t>
            </a:r>
            <a:r>
              <a:rPr lang="lt-LT" sz="1200" b="1" dirty="0" smtClean="0">
                <a:solidFill>
                  <a:srgbClr val="99CB38"/>
                </a:solidFill>
              </a:rPr>
              <a:t>- </a:t>
            </a:r>
            <a:r>
              <a:rPr lang="ru-RU" sz="1200" b="1" dirty="0" smtClean="0">
                <a:solidFill>
                  <a:srgbClr val="99CB38"/>
                </a:solidFill>
              </a:rPr>
              <a:t>3</a:t>
            </a:r>
            <a:r>
              <a:rPr lang="lt-LT" sz="1200" b="1" dirty="0" smtClean="0">
                <a:solidFill>
                  <a:srgbClr val="99CB38"/>
                </a:solidFill>
              </a:rPr>
              <a:t>0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</a:t>
            </a:r>
            <a:endParaRPr lang="lt-LT" sz="1200" b="1" dirty="0">
              <a:solidFill>
                <a:srgbClr val="99CB38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383219" y="3838120"/>
            <a:ext cx="3159220" cy="2431006"/>
          </a:xfrm>
          <a:prstGeom prst="rect">
            <a:avLst/>
          </a:prstGeom>
          <a:solidFill>
            <a:srgbClr val="0471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u="sng" dirty="0" smtClean="0">
                <a:solidFill>
                  <a:schemeClr val="bg1"/>
                </a:solidFill>
              </a:rPr>
              <a:t>Планы приобретения на 2021 г.</a:t>
            </a:r>
            <a:r>
              <a:rPr lang="en-US" u="sng" dirty="0" smtClean="0">
                <a:solidFill>
                  <a:schemeClr val="bg1"/>
                </a:solidFill>
              </a:rPr>
              <a:t>:</a:t>
            </a:r>
            <a:endParaRPr lang="ru-RU" u="sng" dirty="0" smtClean="0">
              <a:solidFill>
                <a:schemeClr val="bg1"/>
              </a:solidFill>
            </a:endParaRPr>
          </a:p>
          <a:p>
            <a:pPr algn="ctr"/>
            <a:endParaRPr lang="lt-LT" u="sng" dirty="0">
              <a:solidFill>
                <a:schemeClr val="tx1"/>
              </a:solidFill>
            </a:endParaRPr>
          </a:p>
          <a:p>
            <a:pPr algn="ctr"/>
            <a:r>
              <a:rPr lang="ru-RU" sz="1200" b="1" dirty="0" err="1" smtClean="0">
                <a:solidFill>
                  <a:srgbClr val="99CB38"/>
                </a:solidFill>
              </a:rPr>
              <a:t>Щеповозы</a:t>
            </a:r>
            <a:r>
              <a:rPr lang="lt-LT" sz="1200" b="1" dirty="0" smtClean="0">
                <a:solidFill>
                  <a:srgbClr val="99CB38"/>
                </a:solidFill>
              </a:rPr>
              <a:t> </a:t>
            </a:r>
            <a:r>
              <a:rPr lang="lt-LT" sz="1200" b="1" dirty="0">
                <a:solidFill>
                  <a:srgbClr val="99CB38"/>
                </a:solidFill>
              </a:rPr>
              <a:t>– </a:t>
            </a:r>
            <a:r>
              <a:rPr lang="lt-LT" sz="1200" b="1" dirty="0" smtClean="0">
                <a:solidFill>
                  <a:srgbClr val="99CB38"/>
                </a:solidFill>
              </a:rPr>
              <a:t>50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;</a:t>
            </a:r>
            <a:endParaRPr lang="ru-RU" sz="1200" b="1" dirty="0" smtClean="0">
              <a:solidFill>
                <a:srgbClr val="99CB38"/>
              </a:solidFill>
            </a:endParaRPr>
          </a:p>
          <a:p>
            <a:pPr algn="ctr"/>
            <a:endParaRPr lang="lt-LT" sz="1200" b="1" dirty="0">
              <a:solidFill>
                <a:srgbClr val="99CB38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99CB38"/>
                </a:solidFill>
              </a:rPr>
              <a:t>Зерновозы</a:t>
            </a:r>
            <a:r>
              <a:rPr lang="lt-LT" sz="1200" b="1" dirty="0" smtClean="0">
                <a:solidFill>
                  <a:srgbClr val="99CB38"/>
                </a:solidFill>
              </a:rPr>
              <a:t> </a:t>
            </a:r>
            <a:r>
              <a:rPr lang="lt-LT" sz="1200" b="1" dirty="0">
                <a:solidFill>
                  <a:srgbClr val="99CB38"/>
                </a:solidFill>
              </a:rPr>
              <a:t>– 25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;</a:t>
            </a:r>
            <a:endParaRPr lang="ru-RU" sz="1200" b="1" dirty="0" smtClean="0">
              <a:solidFill>
                <a:srgbClr val="99CB38"/>
              </a:solidFill>
            </a:endParaRPr>
          </a:p>
          <a:p>
            <a:pPr algn="ctr"/>
            <a:endParaRPr lang="lt-LT" sz="1200" b="1" dirty="0">
              <a:solidFill>
                <a:srgbClr val="99CB38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99CB38"/>
                </a:solidFill>
              </a:rPr>
              <a:t>Полувагоны</a:t>
            </a:r>
            <a:r>
              <a:rPr lang="lt-LT" sz="1200" b="1" dirty="0" smtClean="0">
                <a:solidFill>
                  <a:srgbClr val="99CB38"/>
                </a:solidFill>
              </a:rPr>
              <a:t>– </a:t>
            </a:r>
            <a:r>
              <a:rPr lang="lt-LT" sz="1200" b="1" dirty="0">
                <a:solidFill>
                  <a:srgbClr val="99CB38"/>
                </a:solidFill>
              </a:rPr>
              <a:t>20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;</a:t>
            </a:r>
            <a:endParaRPr lang="ru-RU" sz="1200" b="1" dirty="0" smtClean="0">
              <a:solidFill>
                <a:srgbClr val="99CB38"/>
              </a:solidFill>
            </a:endParaRPr>
          </a:p>
          <a:p>
            <a:pPr algn="ctr"/>
            <a:endParaRPr lang="lt-LT" sz="1200" b="1" dirty="0">
              <a:solidFill>
                <a:srgbClr val="99CB38"/>
              </a:solidFill>
            </a:endParaRPr>
          </a:p>
          <a:p>
            <a:pPr algn="ctr"/>
            <a:r>
              <a:rPr lang="ru-RU" sz="1200" b="1" dirty="0" err="1" smtClean="0">
                <a:solidFill>
                  <a:srgbClr val="99CB38"/>
                </a:solidFill>
              </a:rPr>
              <a:t>Минераловозы</a:t>
            </a:r>
            <a:r>
              <a:rPr lang="lt-LT" sz="1200" b="1" dirty="0" smtClean="0">
                <a:solidFill>
                  <a:srgbClr val="99CB38"/>
                </a:solidFill>
              </a:rPr>
              <a:t> - 6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;</a:t>
            </a:r>
            <a:endParaRPr lang="ru-RU" sz="1200" b="1" dirty="0" smtClean="0">
              <a:solidFill>
                <a:srgbClr val="99CB38"/>
              </a:solidFill>
            </a:endParaRPr>
          </a:p>
          <a:p>
            <a:pPr algn="ctr"/>
            <a:endParaRPr lang="lt-LT" sz="1200" b="1" dirty="0" smtClean="0">
              <a:solidFill>
                <a:srgbClr val="99CB38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99CB38"/>
                </a:solidFill>
              </a:rPr>
              <a:t>Цементовозы</a:t>
            </a:r>
            <a:r>
              <a:rPr lang="lt-LT" sz="1200" b="1" dirty="0" smtClean="0">
                <a:solidFill>
                  <a:srgbClr val="99CB38"/>
                </a:solidFill>
              </a:rPr>
              <a:t>– 10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;</a:t>
            </a:r>
            <a:endParaRPr lang="ru-RU" sz="1200" b="1" dirty="0" smtClean="0">
              <a:solidFill>
                <a:srgbClr val="99CB38"/>
              </a:solidFill>
            </a:endParaRPr>
          </a:p>
          <a:p>
            <a:pPr algn="ctr"/>
            <a:endParaRPr lang="lt-LT" sz="1200" b="1" dirty="0">
              <a:solidFill>
                <a:srgbClr val="99CB38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99CB38"/>
                </a:solidFill>
              </a:rPr>
              <a:t>Крытые вагоны</a:t>
            </a:r>
            <a:r>
              <a:rPr lang="lt-LT" sz="1200" b="1" dirty="0" smtClean="0">
                <a:solidFill>
                  <a:srgbClr val="99CB38"/>
                </a:solidFill>
              </a:rPr>
              <a:t>– 100 </a:t>
            </a:r>
            <a:r>
              <a:rPr lang="ru-RU" sz="1200" b="1" dirty="0" err="1" smtClean="0">
                <a:solidFill>
                  <a:srgbClr val="99CB38"/>
                </a:solidFill>
              </a:rPr>
              <a:t>шт</a:t>
            </a:r>
            <a:r>
              <a:rPr lang="lt-LT" sz="1200" b="1" dirty="0" smtClean="0">
                <a:solidFill>
                  <a:srgbClr val="99CB38"/>
                </a:solidFill>
              </a:rPr>
              <a:t>.</a:t>
            </a:r>
            <a:endParaRPr lang="lt-LT" sz="1200" b="1" dirty="0">
              <a:solidFill>
                <a:srgbClr val="99CB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019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 Yellow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43</TotalTime>
  <Words>696</Words>
  <Application>Microsoft Office PowerPoint</Application>
  <PresentationFormat>Widescreen</PresentationFormat>
  <Paragraphs>184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3" baseType="lpstr">
      <vt:lpstr>Arial</vt:lpstr>
      <vt:lpstr>Calibri</vt:lpstr>
      <vt:lpstr>helvetica neue</vt:lpstr>
      <vt:lpstr>inherit</vt:lpstr>
      <vt:lpstr>Proxima Nova</vt:lpstr>
      <vt:lpstr>Proxima Nova Black</vt:lpstr>
      <vt:lpstr>Proxima Nova ExCn Rg</vt:lpstr>
      <vt:lpstr>Segoe UI</vt:lpstr>
      <vt:lpstr>Segoe UI Semilight</vt:lpstr>
      <vt:lpstr>Source Sans Pro</vt:lpstr>
      <vt:lpstr>Source Sans Pro Black</vt:lpstr>
      <vt:lpstr>Source Sans Pro Light</vt:lpstr>
      <vt:lpstr>Times New Roman</vt:lpstr>
      <vt:lpstr>Office Theme</vt:lpstr>
      <vt:lpstr>think-cell Slide</vt:lpstr>
      <vt:lpstr>Обновление парка ПС в Литовской Республике</vt:lpstr>
      <vt:lpstr>PowerPoint Presentation</vt:lpstr>
      <vt:lpstr>PowerPoint Presentation</vt:lpstr>
      <vt:lpstr>PowerPoint Presentation</vt:lpstr>
      <vt:lpstr>УСЛУГИ</vt:lpstr>
      <vt:lpstr>PowerPoint Presentation</vt:lpstr>
      <vt:lpstr>ПАРК ВАГОНОВ</vt:lpstr>
      <vt:lpstr>Динамика вагонного парка LG к 2030 году</vt:lpstr>
      <vt:lpstr>Программа приобретения ПС 2020-2022 г.</vt:lpstr>
      <vt:lpstr>PowerPoint Presentation</vt:lpstr>
      <vt:lpstr> ПРОИЗВОДСТВО  ТЕПЛОВОЗОВ  </vt:lpstr>
      <vt:lpstr>    ПРОИЗВОДСТВО   ПУТЯВОЙ ТЕХНИКИ  </vt:lpstr>
      <vt:lpstr>Модернизация локомотивов </vt:lpstr>
      <vt:lpstr>ЛОКОМОТИВЫ</vt:lpstr>
      <vt:lpstr>PowerPoint Presentation</vt:lpstr>
      <vt:lpstr> Частный вагонный парк в Литве</vt:lpstr>
      <vt:lpstr>Рост частного вагонного парка в Литве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rem Ipsum</dc:creator>
  <cp:lastModifiedBy>Gintarė Pankevičienė</cp:lastModifiedBy>
  <cp:revision>430</cp:revision>
  <cp:lastPrinted>2019-10-11T09:19:16Z</cp:lastPrinted>
  <dcterms:created xsi:type="dcterms:W3CDTF">2018-01-04T14:11:14Z</dcterms:created>
  <dcterms:modified xsi:type="dcterms:W3CDTF">2019-10-15T12:50:33Z</dcterms:modified>
</cp:coreProperties>
</file>